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523" r:id="rId2"/>
    <p:sldId id="633" r:id="rId3"/>
    <p:sldId id="706" r:id="rId4"/>
    <p:sldId id="705" r:id="rId5"/>
    <p:sldId id="707" r:id="rId6"/>
    <p:sldId id="699" r:id="rId7"/>
    <p:sldId id="712" r:id="rId8"/>
    <p:sldId id="713" r:id="rId9"/>
    <p:sldId id="700" r:id="rId10"/>
    <p:sldId id="698" r:id="rId11"/>
    <p:sldId id="708" r:id="rId12"/>
    <p:sldId id="691" r:id="rId13"/>
    <p:sldId id="714" r:id="rId14"/>
    <p:sldId id="709" r:id="rId15"/>
    <p:sldId id="68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8620" autoAdjust="0"/>
  </p:normalViewPr>
  <p:slideViewPr>
    <p:cSldViewPr snapToGrid="0">
      <p:cViewPr>
        <p:scale>
          <a:sx n="75" d="100"/>
          <a:sy n="75" d="100"/>
        </p:scale>
        <p:origin x="667" y="71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image" Target="../media/image20.png"/><Relationship Id="rId4" Type="http://schemas.openxmlformats.org/officeDocument/2006/relationships/image" Target="../media/image23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image" Target="../media/image20.png"/><Relationship Id="rId4" Type="http://schemas.openxmlformats.org/officeDocument/2006/relationships/image" Target="../media/image2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6AB1E8-8BDB-4D4A-837F-0F005B39C244}" type="doc">
      <dgm:prSet loTypeId="urn:microsoft.com/office/officeart/2011/layout/RadialPictureList" loCatId="officeon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9A6ED10-8253-41E9-8908-70BD0421AEEB}">
      <dgm:prSet phldrT="[Text]"/>
      <dgm:spPr/>
      <dgm:t>
        <a:bodyPr/>
        <a:lstStyle/>
        <a:p>
          <a:r>
            <a:rPr lang="en-US" dirty="0" smtClean="0"/>
            <a:t>Example of POI’s</a:t>
          </a:r>
          <a:endParaRPr lang="en-US" dirty="0"/>
        </a:p>
      </dgm:t>
    </dgm:pt>
    <dgm:pt modelId="{FA0451D8-BD36-43E4-8836-D09866FA37B6}" type="parTrans" cxnId="{D226740F-23B3-4FBF-8D9F-AE9D5F9F6C0A}">
      <dgm:prSet/>
      <dgm:spPr/>
      <dgm:t>
        <a:bodyPr/>
        <a:lstStyle/>
        <a:p>
          <a:endParaRPr lang="en-US"/>
        </a:p>
      </dgm:t>
    </dgm:pt>
    <dgm:pt modelId="{29C99FE4-0CAE-491A-99AF-12552EDD56B1}" type="sibTrans" cxnId="{D226740F-23B3-4FBF-8D9F-AE9D5F9F6C0A}">
      <dgm:prSet/>
      <dgm:spPr/>
      <dgm:t>
        <a:bodyPr/>
        <a:lstStyle/>
        <a:p>
          <a:endParaRPr lang="en-US"/>
        </a:p>
      </dgm:t>
    </dgm:pt>
    <dgm:pt modelId="{A07C9E37-24C1-4032-98FA-DFAA2B8D4F4E}">
      <dgm:prSet phldrT="[Text]"/>
      <dgm:spPr/>
      <dgm:t>
        <a:bodyPr/>
        <a:lstStyle/>
        <a:p>
          <a:r>
            <a:rPr lang="en-US" dirty="0" smtClean="0"/>
            <a:t>Parking Zones</a:t>
          </a:r>
          <a:endParaRPr lang="en-US" dirty="0"/>
        </a:p>
      </dgm:t>
    </dgm:pt>
    <dgm:pt modelId="{B9A57089-C24F-49E1-A4DB-266D1A9D43AB}" type="parTrans" cxnId="{33CFCD59-9E4F-44A5-9ED2-DAE76EECA2C4}">
      <dgm:prSet/>
      <dgm:spPr/>
      <dgm:t>
        <a:bodyPr/>
        <a:lstStyle/>
        <a:p>
          <a:endParaRPr lang="en-US"/>
        </a:p>
      </dgm:t>
    </dgm:pt>
    <dgm:pt modelId="{651FB9F9-2167-46C7-B686-98F39EF79CD5}" type="sibTrans" cxnId="{33CFCD59-9E4F-44A5-9ED2-DAE76EECA2C4}">
      <dgm:prSet/>
      <dgm:spPr/>
      <dgm:t>
        <a:bodyPr/>
        <a:lstStyle/>
        <a:p>
          <a:endParaRPr lang="en-US"/>
        </a:p>
      </dgm:t>
    </dgm:pt>
    <dgm:pt modelId="{B235199A-3A7B-4585-B09C-F0DA07380E03}">
      <dgm:prSet phldrT="[Text]"/>
      <dgm:spPr/>
      <dgm:t>
        <a:bodyPr/>
        <a:lstStyle/>
        <a:p>
          <a:r>
            <a:rPr lang="en-US" dirty="0" smtClean="0"/>
            <a:t>Garages</a:t>
          </a:r>
          <a:endParaRPr lang="en-US" dirty="0"/>
        </a:p>
      </dgm:t>
    </dgm:pt>
    <dgm:pt modelId="{A506A11D-1B69-4AEA-8465-D13B854285F3}" type="parTrans" cxnId="{A6FAD515-29A8-48AC-B55E-6A3BEE7AF519}">
      <dgm:prSet/>
      <dgm:spPr/>
      <dgm:t>
        <a:bodyPr/>
        <a:lstStyle/>
        <a:p>
          <a:endParaRPr lang="en-US"/>
        </a:p>
      </dgm:t>
    </dgm:pt>
    <dgm:pt modelId="{6FBCEA91-680E-4302-9963-501030BD772D}" type="sibTrans" cxnId="{A6FAD515-29A8-48AC-B55E-6A3BEE7AF519}">
      <dgm:prSet/>
      <dgm:spPr/>
      <dgm:t>
        <a:bodyPr/>
        <a:lstStyle/>
        <a:p>
          <a:endParaRPr lang="en-US"/>
        </a:p>
      </dgm:t>
    </dgm:pt>
    <dgm:pt modelId="{360EFA48-2F67-4522-B44C-A78B64AC1AFA}">
      <dgm:prSet phldrT="[Text]"/>
      <dgm:spPr/>
      <dgm:t>
        <a:bodyPr/>
        <a:lstStyle/>
        <a:p>
          <a:r>
            <a:rPr lang="en-US" dirty="0" smtClean="0"/>
            <a:t>Parking meters</a:t>
          </a:r>
          <a:endParaRPr lang="en-US" dirty="0"/>
        </a:p>
      </dgm:t>
    </dgm:pt>
    <dgm:pt modelId="{02623ACC-8DA1-46A1-BCD7-464B15C3907B}" type="parTrans" cxnId="{5BB3026E-86F4-4BD3-BFC3-92ED42F9FE13}">
      <dgm:prSet/>
      <dgm:spPr/>
      <dgm:t>
        <a:bodyPr/>
        <a:lstStyle/>
        <a:p>
          <a:endParaRPr lang="en-US"/>
        </a:p>
      </dgm:t>
    </dgm:pt>
    <dgm:pt modelId="{61E2FEFA-EE0D-441E-83DC-14BECD2A0C40}" type="sibTrans" cxnId="{5BB3026E-86F4-4BD3-BFC3-92ED42F9FE13}">
      <dgm:prSet/>
      <dgm:spPr/>
      <dgm:t>
        <a:bodyPr/>
        <a:lstStyle/>
        <a:p>
          <a:endParaRPr lang="en-US"/>
        </a:p>
      </dgm:t>
    </dgm:pt>
    <dgm:pt modelId="{BA62BFFA-8B0B-4F15-BF20-7943F44ECA9F}">
      <dgm:prSet phldrT="[Text]"/>
      <dgm:spPr/>
      <dgm:t>
        <a:bodyPr/>
        <a:lstStyle/>
        <a:p>
          <a:r>
            <a:rPr lang="en-US" dirty="0" smtClean="0"/>
            <a:t>Charging stations</a:t>
          </a:r>
          <a:endParaRPr lang="en-US" dirty="0"/>
        </a:p>
      </dgm:t>
    </dgm:pt>
    <dgm:pt modelId="{E52136BF-BA3A-4A33-99D3-8334BA68E906}" type="parTrans" cxnId="{7CCA3A85-464E-41CD-81CD-751E8C8DAA6A}">
      <dgm:prSet/>
      <dgm:spPr/>
      <dgm:t>
        <a:bodyPr/>
        <a:lstStyle/>
        <a:p>
          <a:endParaRPr lang="en-US"/>
        </a:p>
      </dgm:t>
    </dgm:pt>
    <dgm:pt modelId="{B83F0DFC-1C02-4052-9245-24217480F335}" type="sibTrans" cxnId="{7CCA3A85-464E-41CD-81CD-751E8C8DAA6A}">
      <dgm:prSet/>
      <dgm:spPr/>
      <dgm:t>
        <a:bodyPr/>
        <a:lstStyle/>
        <a:p>
          <a:endParaRPr lang="en-US"/>
        </a:p>
      </dgm:t>
    </dgm:pt>
    <dgm:pt modelId="{B1D2FC8F-2BFB-42F8-B893-154C1C81A461}" type="pres">
      <dgm:prSet presAssocID="{966AB1E8-8BDB-4D4A-837F-0F005B39C244}" presName="Name0" presStyleCnt="0">
        <dgm:presLayoutVars>
          <dgm:chMax val="1"/>
          <dgm:chPref val="1"/>
          <dgm:dir/>
          <dgm:resizeHandles/>
        </dgm:presLayoutVars>
      </dgm:prSet>
      <dgm:spPr/>
    </dgm:pt>
    <dgm:pt modelId="{870D701C-36F3-47C4-B4B5-87A88CF1C8D7}" type="pres">
      <dgm:prSet presAssocID="{09A6ED10-8253-41E9-8908-70BD0421AEEB}" presName="Parent" presStyleLbl="node1" presStyleIdx="0" presStyleCnt="2">
        <dgm:presLayoutVars>
          <dgm:chMax val="4"/>
          <dgm:chPref val="3"/>
        </dgm:presLayoutVars>
      </dgm:prSet>
      <dgm:spPr/>
      <dgm:t>
        <a:bodyPr/>
        <a:lstStyle/>
        <a:p>
          <a:endParaRPr lang="en-US"/>
        </a:p>
      </dgm:t>
    </dgm:pt>
    <dgm:pt modelId="{864A1A8A-F751-41FA-A145-78D55DC48E74}" type="pres">
      <dgm:prSet presAssocID="{A07C9E37-24C1-4032-98FA-DFAA2B8D4F4E}" presName="Accent" presStyleLbl="node1" presStyleIdx="1" presStyleCnt="2"/>
      <dgm:spPr/>
    </dgm:pt>
    <dgm:pt modelId="{EEE2473D-73CB-4355-9298-39D4DCDD2154}" type="pres">
      <dgm:prSet presAssocID="{A07C9E37-24C1-4032-98FA-DFAA2B8D4F4E}" presName="Image1" presStyleLbl="fgImgPlace1" presStyleIdx="0" presStyleCnt="4"/>
      <dgm:spPr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82174236-9386-4F75-B129-4C13CC007967}" type="pres">
      <dgm:prSet presAssocID="{A07C9E37-24C1-4032-98FA-DFAA2B8D4F4E}" presName="Child1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139B0AFD-576A-4A71-8928-DBABDC9D439C}" type="pres">
      <dgm:prSet presAssocID="{B235199A-3A7B-4585-B09C-F0DA07380E03}" presName="Image2" presStyleCnt="0"/>
      <dgm:spPr/>
    </dgm:pt>
    <dgm:pt modelId="{AE2F0E48-B0C6-47C5-84DC-64648B68E403}" type="pres">
      <dgm:prSet presAssocID="{B235199A-3A7B-4585-B09C-F0DA07380E03}" presName="Image" presStyleLbl="fgImgPlace1" presStyleIdx="1" presStyleCnt="4"/>
      <dgm:spPr>
        <a:blipFill>
          <a:blip xmlns:r="http://schemas.openxmlformats.org/officeDocument/2006/relationships" r:embed="rId2"/>
          <a:srcRect/>
          <a:stretch>
            <a:fillRect t="-15000" b="-15000"/>
          </a:stretch>
        </a:blipFill>
      </dgm:spPr>
    </dgm:pt>
    <dgm:pt modelId="{EBFAC797-E190-44A1-B3D4-FDEA9262D1BE}" type="pres">
      <dgm:prSet presAssocID="{B235199A-3A7B-4585-B09C-F0DA07380E03}" presName="Child2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CACA58B2-A706-4778-95E7-A1EC80BD6A56}" type="pres">
      <dgm:prSet presAssocID="{360EFA48-2F67-4522-B44C-A78B64AC1AFA}" presName="Image3" presStyleCnt="0"/>
      <dgm:spPr/>
    </dgm:pt>
    <dgm:pt modelId="{58A8BA03-1CF0-4BE5-B626-23B1E5E4700A}" type="pres">
      <dgm:prSet presAssocID="{360EFA48-2F67-4522-B44C-A78B64AC1AFA}" presName="Image" presStyleLbl="fgImgPlace1" presStyleIdx="2" presStyleCnt="4"/>
      <dgm:spPr>
        <a:blipFill>
          <a:blip xmlns:r="http://schemas.openxmlformats.org/officeDocument/2006/relationships" r:embed="rId3"/>
          <a:srcRect/>
          <a:stretch>
            <a:fillRect t="-15000" b="-15000"/>
          </a:stretch>
        </a:blipFill>
      </dgm:spPr>
    </dgm:pt>
    <dgm:pt modelId="{DF3E58B3-E96B-4DAC-932F-4621A30810A1}" type="pres">
      <dgm:prSet presAssocID="{360EFA48-2F67-4522-B44C-A78B64AC1AFA}" presName="Child3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9DB70693-B657-4A9E-A710-FE6C43AFBFAB}" type="pres">
      <dgm:prSet presAssocID="{BA62BFFA-8B0B-4F15-BF20-7943F44ECA9F}" presName="Image4" presStyleCnt="0"/>
      <dgm:spPr/>
    </dgm:pt>
    <dgm:pt modelId="{35E1DA5F-AA98-4A91-8484-AA973BE36A20}" type="pres">
      <dgm:prSet presAssocID="{BA62BFFA-8B0B-4F15-BF20-7943F44ECA9F}" presName="Image" presStyleLbl="fgImgPlace1" presStyleIdx="3" presStyleCnt="4"/>
      <dgm:spPr>
        <a:blipFill>
          <a:blip xmlns:r="http://schemas.openxmlformats.org/officeDocument/2006/relationships"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96CD3372-CC66-40AC-902A-176371573D82}" type="pres">
      <dgm:prSet presAssocID="{BA62BFFA-8B0B-4F15-BF20-7943F44ECA9F}" presName="Child4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226740F-23B3-4FBF-8D9F-AE9D5F9F6C0A}" srcId="{966AB1E8-8BDB-4D4A-837F-0F005B39C244}" destId="{09A6ED10-8253-41E9-8908-70BD0421AEEB}" srcOrd="0" destOrd="0" parTransId="{FA0451D8-BD36-43E4-8836-D09866FA37B6}" sibTransId="{29C99FE4-0CAE-491A-99AF-12552EDD56B1}"/>
    <dgm:cxn modelId="{4BA65E4B-BA04-4AAE-8F1D-9726CB7704AE}" type="presOf" srcId="{B235199A-3A7B-4585-B09C-F0DA07380E03}" destId="{EBFAC797-E190-44A1-B3D4-FDEA9262D1BE}" srcOrd="0" destOrd="0" presId="urn:microsoft.com/office/officeart/2011/layout/RadialPictureList"/>
    <dgm:cxn modelId="{826D829B-5CF5-491F-B324-1ACE846F49D5}" type="presOf" srcId="{BA62BFFA-8B0B-4F15-BF20-7943F44ECA9F}" destId="{96CD3372-CC66-40AC-902A-176371573D82}" srcOrd="0" destOrd="0" presId="urn:microsoft.com/office/officeart/2011/layout/RadialPictureList"/>
    <dgm:cxn modelId="{C6337468-1F3A-4E63-AD46-C0D11DF0C83F}" type="presOf" srcId="{09A6ED10-8253-41E9-8908-70BD0421AEEB}" destId="{870D701C-36F3-47C4-B4B5-87A88CF1C8D7}" srcOrd="0" destOrd="0" presId="urn:microsoft.com/office/officeart/2011/layout/RadialPictureList"/>
    <dgm:cxn modelId="{F38069E5-445C-4CC3-8859-48A2AC217221}" type="presOf" srcId="{360EFA48-2F67-4522-B44C-A78B64AC1AFA}" destId="{DF3E58B3-E96B-4DAC-932F-4621A30810A1}" srcOrd="0" destOrd="0" presId="urn:microsoft.com/office/officeart/2011/layout/RadialPictureList"/>
    <dgm:cxn modelId="{7CCA3A85-464E-41CD-81CD-751E8C8DAA6A}" srcId="{09A6ED10-8253-41E9-8908-70BD0421AEEB}" destId="{BA62BFFA-8B0B-4F15-BF20-7943F44ECA9F}" srcOrd="3" destOrd="0" parTransId="{E52136BF-BA3A-4A33-99D3-8334BA68E906}" sibTransId="{B83F0DFC-1C02-4052-9245-24217480F335}"/>
    <dgm:cxn modelId="{D9490DE8-7F4C-41CF-A397-1AB77994C860}" type="presOf" srcId="{A07C9E37-24C1-4032-98FA-DFAA2B8D4F4E}" destId="{82174236-9386-4F75-B129-4C13CC007967}" srcOrd="0" destOrd="0" presId="urn:microsoft.com/office/officeart/2011/layout/RadialPictureList"/>
    <dgm:cxn modelId="{E7CA70C2-D1CD-4719-A8F5-D6BF3DECC1C0}" type="presOf" srcId="{966AB1E8-8BDB-4D4A-837F-0F005B39C244}" destId="{B1D2FC8F-2BFB-42F8-B893-154C1C81A461}" srcOrd="0" destOrd="0" presId="urn:microsoft.com/office/officeart/2011/layout/RadialPictureList"/>
    <dgm:cxn modelId="{33CFCD59-9E4F-44A5-9ED2-DAE76EECA2C4}" srcId="{09A6ED10-8253-41E9-8908-70BD0421AEEB}" destId="{A07C9E37-24C1-4032-98FA-DFAA2B8D4F4E}" srcOrd="0" destOrd="0" parTransId="{B9A57089-C24F-49E1-A4DB-266D1A9D43AB}" sibTransId="{651FB9F9-2167-46C7-B686-98F39EF79CD5}"/>
    <dgm:cxn modelId="{5BB3026E-86F4-4BD3-BFC3-92ED42F9FE13}" srcId="{09A6ED10-8253-41E9-8908-70BD0421AEEB}" destId="{360EFA48-2F67-4522-B44C-A78B64AC1AFA}" srcOrd="2" destOrd="0" parTransId="{02623ACC-8DA1-46A1-BCD7-464B15C3907B}" sibTransId="{61E2FEFA-EE0D-441E-83DC-14BECD2A0C40}"/>
    <dgm:cxn modelId="{A6FAD515-29A8-48AC-B55E-6A3BEE7AF519}" srcId="{09A6ED10-8253-41E9-8908-70BD0421AEEB}" destId="{B235199A-3A7B-4585-B09C-F0DA07380E03}" srcOrd="1" destOrd="0" parTransId="{A506A11D-1B69-4AEA-8465-D13B854285F3}" sibTransId="{6FBCEA91-680E-4302-9963-501030BD772D}"/>
    <dgm:cxn modelId="{20225FE0-4021-40EE-81E6-52A637B7FDEA}" type="presParOf" srcId="{B1D2FC8F-2BFB-42F8-B893-154C1C81A461}" destId="{870D701C-36F3-47C4-B4B5-87A88CF1C8D7}" srcOrd="0" destOrd="0" presId="urn:microsoft.com/office/officeart/2011/layout/RadialPictureList"/>
    <dgm:cxn modelId="{0D7D2291-E9B2-448D-AC3C-08862978AE3C}" type="presParOf" srcId="{B1D2FC8F-2BFB-42F8-B893-154C1C81A461}" destId="{864A1A8A-F751-41FA-A145-78D55DC48E74}" srcOrd="1" destOrd="0" presId="urn:microsoft.com/office/officeart/2011/layout/RadialPictureList"/>
    <dgm:cxn modelId="{5F631352-6EFE-43D7-8E4F-43C16EDCE429}" type="presParOf" srcId="{B1D2FC8F-2BFB-42F8-B893-154C1C81A461}" destId="{EEE2473D-73CB-4355-9298-39D4DCDD2154}" srcOrd="2" destOrd="0" presId="urn:microsoft.com/office/officeart/2011/layout/RadialPictureList"/>
    <dgm:cxn modelId="{C3B15E1A-F61D-4D7B-AFC7-CCAE597D5166}" type="presParOf" srcId="{B1D2FC8F-2BFB-42F8-B893-154C1C81A461}" destId="{82174236-9386-4F75-B129-4C13CC007967}" srcOrd="3" destOrd="0" presId="urn:microsoft.com/office/officeart/2011/layout/RadialPictureList"/>
    <dgm:cxn modelId="{4818E1E8-C480-436A-BFFF-98C1517153C3}" type="presParOf" srcId="{B1D2FC8F-2BFB-42F8-B893-154C1C81A461}" destId="{139B0AFD-576A-4A71-8928-DBABDC9D439C}" srcOrd="4" destOrd="0" presId="urn:microsoft.com/office/officeart/2011/layout/RadialPictureList"/>
    <dgm:cxn modelId="{96A90F79-80E2-4275-AD3A-8A4F013A4148}" type="presParOf" srcId="{139B0AFD-576A-4A71-8928-DBABDC9D439C}" destId="{AE2F0E48-B0C6-47C5-84DC-64648B68E403}" srcOrd="0" destOrd="0" presId="urn:microsoft.com/office/officeart/2011/layout/RadialPictureList"/>
    <dgm:cxn modelId="{D156B2B9-32AE-4B55-9959-E1431ACC31B6}" type="presParOf" srcId="{B1D2FC8F-2BFB-42F8-B893-154C1C81A461}" destId="{EBFAC797-E190-44A1-B3D4-FDEA9262D1BE}" srcOrd="5" destOrd="0" presId="urn:microsoft.com/office/officeart/2011/layout/RadialPictureList"/>
    <dgm:cxn modelId="{00396C57-D2AC-4216-A10A-1948C7E87C99}" type="presParOf" srcId="{B1D2FC8F-2BFB-42F8-B893-154C1C81A461}" destId="{CACA58B2-A706-4778-95E7-A1EC80BD6A56}" srcOrd="6" destOrd="0" presId="urn:microsoft.com/office/officeart/2011/layout/RadialPictureList"/>
    <dgm:cxn modelId="{8234FB49-A254-4809-8984-5E70AB46553A}" type="presParOf" srcId="{CACA58B2-A706-4778-95E7-A1EC80BD6A56}" destId="{58A8BA03-1CF0-4BE5-B626-23B1E5E4700A}" srcOrd="0" destOrd="0" presId="urn:microsoft.com/office/officeart/2011/layout/RadialPictureList"/>
    <dgm:cxn modelId="{90197B04-5CF2-4FCB-8D19-D5D1799ADF7C}" type="presParOf" srcId="{B1D2FC8F-2BFB-42F8-B893-154C1C81A461}" destId="{DF3E58B3-E96B-4DAC-932F-4621A30810A1}" srcOrd="7" destOrd="0" presId="urn:microsoft.com/office/officeart/2011/layout/RadialPictureList"/>
    <dgm:cxn modelId="{B44BA62A-1E23-4379-8D5F-9B8580D455E8}" type="presParOf" srcId="{B1D2FC8F-2BFB-42F8-B893-154C1C81A461}" destId="{9DB70693-B657-4A9E-A710-FE6C43AFBFAB}" srcOrd="8" destOrd="0" presId="urn:microsoft.com/office/officeart/2011/layout/RadialPictureList"/>
    <dgm:cxn modelId="{572D69D0-026C-4A78-9AD0-0F6A8E1F3C2D}" type="presParOf" srcId="{9DB70693-B657-4A9E-A710-FE6C43AFBFAB}" destId="{35E1DA5F-AA98-4A91-8484-AA973BE36A20}" srcOrd="0" destOrd="0" presId="urn:microsoft.com/office/officeart/2011/layout/RadialPictureList"/>
    <dgm:cxn modelId="{014C26E8-2B04-4F8D-B982-428D3F70C775}" type="presParOf" srcId="{B1D2FC8F-2BFB-42F8-B893-154C1C81A461}" destId="{96CD3372-CC66-40AC-902A-176371573D82}" srcOrd="9" destOrd="0" presId="urn:microsoft.com/office/officeart/2011/layout/RadialPictur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BDD9FB1-2164-48F2-B184-47513DA4B2B7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BA53E65-B43E-4C24-8B54-360FC7F1802A}">
      <dgm:prSet phldrT="[Text]"/>
      <dgm:spPr/>
      <dgm:t>
        <a:bodyPr/>
        <a:lstStyle/>
        <a:p>
          <a:r>
            <a:rPr lang="en-US" dirty="0" smtClean="0">
              <a:solidFill>
                <a:schemeClr val="accent1"/>
              </a:solidFill>
            </a:rPr>
            <a:t>Search POI by location code</a:t>
          </a:r>
          <a:endParaRPr lang="en-US" dirty="0">
            <a:solidFill>
              <a:schemeClr val="accent1"/>
            </a:solidFill>
          </a:endParaRPr>
        </a:p>
      </dgm:t>
    </dgm:pt>
    <dgm:pt modelId="{8563FC59-7EEA-4EE4-BE77-7EC48E2C48D8}" type="parTrans" cxnId="{A125E408-F346-474E-9600-6CD6BF7BE091}">
      <dgm:prSet/>
      <dgm:spPr/>
      <dgm:t>
        <a:bodyPr/>
        <a:lstStyle/>
        <a:p>
          <a:endParaRPr lang="en-US"/>
        </a:p>
      </dgm:t>
    </dgm:pt>
    <dgm:pt modelId="{18A6355C-E8A1-4AB0-85B2-CC70062B3C2A}" type="sibTrans" cxnId="{A125E408-F346-474E-9600-6CD6BF7BE091}">
      <dgm:prSet/>
      <dgm:spPr/>
      <dgm:t>
        <a:bodyPr/>
        <a:lstStyle/>
        <a:p>
          <a:endParaRPr lang="en-US"/>
        </a:p>
      </dgm:t>
    </dgm:pt>
    <dgm:pt modelId="{FB83825A-23E2-4DE6-8664-E8FAF1905055}">
      <dgm:prSet phldrT="[Text]"/>
      <dgm:spPr/>
      <dgm:t>
        <a:bodyPr/>
        <a:lstStyle/>
        <a:p>
          <a:r>
            <a:rPr lang="en-US" dirty="0" smtClean="0">
              <a:solidFill>
                <a:schemeClr val="accent1"/>
              </a:solidFill>
            </a:rPr>
            <a:t>Search POI by GPS location</a:t>
          </a:r>
          <a:endParaRPr lang="en-US" dirty="0">
            <a:solidFill>
              <a:schemeClr val="accent1"/>
            </a:solidFill>
          </a:endParaRPr>
        </a:p>
      </dgm:t>
    </dgm:pt>
    <dgm:pt modelId="{40345015-1A3C-4A45-A71B-79D8B3D76CEE}" type="parTrans" cxnId="{011A2AEF-EECC-4159-9725-6CA15FEFA4DC}">
      <dgm:prSet/>
      <dgm:spPr/>
      <dgm:t>
        <a:bodyPr/>
        <a:lstStyle/>
        <a:p>
          <a:endParaRPr lang="en-US"/>
        </a:p>
      </dgm:t>
    </dgm:pt>
    <dgm:pt modelId="{EA1A07C9-4675-4DEC-B434-4488F111732F}" type="sibTrans" cxnId="{011A2AEF-EECC-4159-9725-6CA15FEFA4DC}">
      <dgm:prSet/>
      <dgm:spPr/>
      <dgm:t>
        <a:bodyPr/>
        <a:lstStyle/>
        <a:p>
          <a:endParaRPr lang="en-US"/>
        </a:p>
      </dgm:t>
    </dgm:pt>
    <dgm:pt modelId="{DCCDC54D-BA9B-4FA5-A76A-86F36A5154F9}" type="pres">
      <dgm:prSet presAssocID="{7BDD9FB1-2164-48F2-B184-47513DA4B2B7}" presName="Name0" presStyleCnt="0">
        <dgm:presLayoutVars>
          <dgm:dir/>
        </dgm:presLayoutVars>
      </dgm:prSet>
      <dgm:spPr/>
    </dgm:pt>
    <dgm:pt modelId="{ADC3F9B3-22F1-4B6F-B97B-3DD905401114}" type="pres">
      <dgm:prSet presAssocID="{5BA53E65-B43E-4C24-8B54-360FC7F1802A}" presName="noChildren" presStyleCnt="0"/>
      <dgm:spPr/>
    </dgm:pt>
    <dgm:pt modelId="{633E7888-9556-47D5-8493-A14C97F9EDA0}" type="pres">
      <dgm:prSet presAssocID="{5BA53E65-B43E-4C24-8B54-360FC7F1802A}" presName="gap" presStyleCnt="0"/>
      <dgm:spPr/>
    </dgm:pt>
    <dgm:pt modelId="{AE1682DC-72B2-4A76-9782-E3617B2899EF}" type="pres">
      <dgm:prSet presAssocID="{5BA53E65-B43E-4C24-8B54-360FC7F1802A}" presName="medCircle2" presStyleLbl="vennNode1" presStyleIdx="0" presStyleCnt="2"/>
      <dgm:spPr/>
    </dgm:pt>
    <dgm:pt modelId="{C6362817-41CA-4299-B9E4-7AAAA3B878A1}" type="pres">
      <dgm:prSet presAssocID="{5BA53E65-B43E-4C24-8B54-360FC7F1802A}" presName="txLvlOnly1" presStyleLbl="revTx" presStyleIdx="0" presStyleCnt="2"/>
      <dgm:spPr/>
      <dgm:t>
        <a:bodyPr/>
        <a:lstStyle/>
        <a:p>
          <a:endParaRPr lang="en-US"/>
        </a:p>
      </dgm:t>
    </dgm:pt>
    <dgm:pt modelId="{D01D9A6A-7715-4E7C-BC4D-891C357B4F1E}" type="pres">
      <dgm:prSet presAssocID="{FB83825A-23E2-4DE6-8664-E8FAF1905055}" presName="noChildren" presStyleCnt="0"/>
      <dgm:spPr/>
    </dgm:pt>
    <dgm:pt modelId="{38FB74F0-C8A5-4B43-833D-C7969D987BD4}" type="pres">
      <dgm:prSet presAssocID="{FB83825A-23E2-4DE6-8664-E8FAF1905055}" presName="gap" presStyleCnt="0"/>
      <dgm:spPr/>
    </dgm:pt>
    <dgm:pt modelId="{6C192065-2BE0-4609-BE5B-4E263BA19947}" type="pres">
      <dgm:prSet presAssocID="{FB83825A-23E2-4DE6-8664-E8FAF1905055}" presName="medCircle2" presStyleLbl="vennNode1" presStyleIdx="1" presStyleCnt="2"/>
      <dgm:spPr/>
    </dgm:pt>
    <dgm:pt modelId="{C4FDEEB0-6DB0-47D4-823E-CBF40CFC4D85}" type="pres">
      <dgm:prSet presAssocID="{FB83825A-23E2-4DE6-8664-E8FAF1905055}" presName="txLvlOnly1" presStyleLbl="revTx" presStyleIdx="1" presStyleCnt="2"/>
      <dgm:spPr/>
      <dgm:t>
        <a:bodyPr/>
        <a:lstStyle/>
        <a:p>
          <a:endParaRPr lang="en-US"/>
        </a:p>
      </dgm:t>
    </dgm:pt>
  </dgm:ptLst>
  <dgm:cxnLst>
    <dgm:cxn modelId="{011A2AEF-EECC-4159-9725-6CA15FEFA4DC}" srcId="{7BDD9FB1-2164-48F2-B184-47513DA4B2B7}" destId="{FB83825A-23E2-4DE6-8664-E8FAF1905055}" srcOrd="1" destOrd="0" parTransId="{40345015-1A3C-4A45-A71B-79D8B3D76CEE}" sibTransId="{EA1A07C9-4675-4DEC-B434-4488F111732F}"/>
    <dgm:cxn modelId="{79964079-D938-4CB1-B627-47F8749CDE35}" type="presOf" srcId="{7BDD9FB1-2164-48F2-B184-47513DA4B2B7}" destId="{DCCDC54D-BA9B-4FA5-A76A-86F36A5154F9}" srcOrd="0" destOrd="0" presId="urn:microsoft.com/office/officeart/2008/layout/VerticalCircleList"/>
    <dgm:cxn modelId="{A125E408-F346-474E-9600-6CD6BF7BE091}" srcId="{7BDD9FB1-2164-48F2-B184-47513DA4B2B7}" destId="{5BA53E65-B43E-4C24-8B54-360FC7F1802A}" srcOrd="0" destOrd="0" parTransId="{8563FC59-7EEA-4EE4-BE77-7EC48E2C48D8}" sibTransId="{18A6355C-E8A1-4AB0-85B2-CC70062B3C2A}"/>
    <dgm:cxn modelId="{DD2F6BCC-5052-414F-BF12-7E0FB78A7DFC}" type="presOf" srcId="{5BA53E65-B43E-4C24-8B54-360FC7F1802A}" destId="{C6362817-41CA-4299-B9E4-7AAAA3B878A1}" srcOrd="0" destOrd="0" presId="urn:microsoft.com/office/officeart/2008/layout/VerticalCircleList"/>
    <dgm:cxn modelId="{0947AAC1-BCBB-4CE7-8B49-641147A0B2E0}" type="presOf" srcId="{FB83825A-23E2-4DE6-8664-E8FAF1905055}" destId="{C4FDEEB0-6DB0-47D4-823E-CBF40CFC4D85}" srcOrd="0" destOrd="0" presId="urn:microsoft.com/office/officeart/2008/layout/VerticalCircleList"/>
    <dgm:cxn modelId="{CF909268-F982-4686-96AE-4579BAC53B72}" type="presParOf" srcId="{DCCDC54D-BA9B-4FA5-A76A-86F36A5154F9}" destId="{ADC3F9B3-22F1-4B6F-B97B-3DD905401114}" srcOrd="0" destOrd="0" presId="urn:microsoft.com/office/officeart/2008/layout/VerticalCircleList"/>
    <dgm:cxn modelId="{DB10C006-5549-4E3B-9208-52931DAD0EB7}" type="presParOf" srcId="{ADC3F9B3-22F1-4B6F-B97B-3DD905401114}" destId="{633E7888-9556-47D5-8493-A14C97F9EDA0}" srcOrd="0" destOrd="0" presId="urn:microsoft.com/office/officeart/2008/layout/VerticalCircleList"/>
    <dgm:cxn modelId="{29655072-BEE1-44B4-AF53-3D32EDC63390}" type="presParOf" srcId="{ADC3F9B3-22F1-4B6F-B97B-3DD905401114}" destId="{AE1682DC-72B2-4A76-9782-E3617B2899EF}" srcOrd="1" destOrd="0" presId="urn:microsoft.com/office/officeart/2008/layout/VerticalCircleList"/>
    <dgm:cxn modelId="{D6F6743E-D909-4AF1-940B-5FC3E08AF511}" type="presParOf" srcId="{ADC3F9B3-22F1-4B6F-B97B-3DD905401114}" destId="{C6362817-41CA-4299-B9E4-7AAAA3B878A1}" srcOrd="2" destOrd="0" presId="urn:microsoft.com/office/officeart/2008/layout/VerticalCircleList"/>
    <dgm:cxn modelId="{D3E2A2EA-90DD-47D7-8BA5-9D5C97338EB2}" type="presParOf" srcId="{DCCDC54D-BA9B-4FA5-A76A-86F36A5154F9}" destId="{D01D9A6A-7715-4E7C-BC4D-891C357B4F1E}" srcOrd="1" destOrd="0" presId="urn:microsoft.com/office/officeart/2008/layout/VerticalCircleList"/>
    <dgm:cxn modelId="{0D97D974-2D99-456C-B795-6BF34D64DE86}" type="presParOf" srcId="{D01D9A6A-7715-4E7C-BC4D-891C357B4F1E}" destId="{38FB74F0-C8A5-4B43-833D-C7969D987BD4}" srcOrd="0" destOrd="0" presId="urn:microsoft.com/office/officeart/2008/layout/VerticalCircleList"/>
    <dgm:cxn modelId="{D61D3081-C246-4997-AB02-98FA9B762F4B}" type="presParOf" srcId="{D01D9A6A-7715-4E7C-BC4D-891C357B4F1E}" destId="{6C192065-2BE0-4609-BE5B-4E263BA19947}" srcOrd="1" destOrd="0" presId="urn:microsoft.com/office/officeart/2008/layout/VerticalCircleList"/>
    <dgm:cxn modelId="{95A8ADBD-5B22-4108-B063-B384B672DD02}" type="presParOf" srcId="{D01D9A6A-7715-4E7C-BC4D-891C357B4F1E}" destId="{C4FDEEB0-6DB0-47D4-823E-CBF40CFC4D85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0D701C-36F3-47C4-B4B5-87A88CF1C8D7}">
      <dsp:nvSpPr>
        <dsp:cNvPr id="0" name=""/>
        <dsp:cNvSpPr/>
      </dsp:nvSpPr>
      <dsp:spPr>
        <a:xfrm>
          <a:off x="984987" y="1058505"/>
          <a:ext cx="1657779" cy="165763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Example of POI’s</a:t>
          </a:r>
          <a:endParaRPr lang="en-US" sz="2400" kern="1200" dirty="0"/>
        </a:p>
      </dsp:txBody>
      <dsp:txXfrm>
        <a:off x="1227763" y="1301259"/>
        <a:ext cx="1172227" cy="1172123"/>
      </dsp:txXfrm>
    </dsp:sp>
    <dsp:sp modelId="{864A1A8A-F751-41FA-A145-78D55DC48E74}">
      <dsp:nvSpPr>
        <dsp:cNvPr id="0" name=""/>
        <dsp:cNvSpPr/>
      </dsp:nvSpPr>
      <dsp:spPr>
        <a:xfrm>
          <a:off x="130301" y="136715"/>
          <a:ext cx="3341355" cy="3483033"/>
        </a:xfrm>
        <a:prstGeom prst="blockArc">
          <a:avLst>
            <a:gd name="adj1" fmla="val 16509444"/>
            <a:gd name="adj2" fmla="val 5088054"/>
            <a:gd name="adj3" fmla="val 52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E2473D-73CB-4355-9298-39D4DCDD2154}">
      <dsp:nvSpPr>
        <dsp:cNvPr id="0" name=""/>
        <dsp:cNvSpPr/>
      </dsp:nvSpPr>
      <dsp:spPr>
        <a:xfrm>
          <a:off x="2198875" y="0"/>
          <a:ext cx="888270" cy="888084"/>
        </a:xfrm>
        <a:prstGeom prst="ellipse">
          <a:avLst/>
        </a:prstGeom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174236-9386-4F75-B129-4C13CC007967}">
      <dsp:nvSpPr>
        <dsp:cNvPr id="0" name=""/>
        <dsp:cNvSpPr/>
      </dsp:nvSpPr>
      <dsp:spPr>
        <a:xfrm>
          <a:off x="3154800" y="11361"/>
          <a:ext cx="1189065" cy="8596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2300" kern="1200" dirty="0" smtClean="0"/>
            <a:t>Parking Zones</a:t>
          </a:r>
          <a:endParaRPr lang="en-US" sz="2300" kern="1200" dirty="0"/>
        </a:p>
      </dsp:txBody>
      <dsp:txXfrm>
        <a:off x="3154800" y="11361"/>
        <a:ext cx="1189065" cy="859681"/>
      </dsp:txXfrm>
    </dsp:sp>
    <dsp:sp modelId="{AE2F0E48-B0C6-47C5-84DC-64648B68E403}">
      <dsp:nvSpPr>
        <dsp:cNvPr id="0" name=""/>
        <dsp:cNvSpPr/>
      </dsp:nvSpPr>
      <dsp:spPr>
        <a:xfrm>
          <a:off x="2854978" y="827111"/>
          <a:ext cx="888270" cy="888084"/>
        </a:xfrm>
        <a:prstGeom prst="ellipse">
          <a:avLst/>
        </a:prstGeom>
        <a:blipFill>
          <a:blip xmlns:r="http://schemas.openxmlformats.org/officeDocument/2006/relationships" r:embed="rId2"/>
          <a:srcRect/>
          <a:stretch>
            <a:fillRect t="-15000" b="-1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FAC797-E190-44A1-B3D4-FDEA9262D1BE}">
      <dsp:nvSpPr>
        <dsp:cNvPr id="0" name=""/>
        <dsp:cNvSpPr/>
      </dsp:nvSpPr>
      <dsp:spPr>
        <a:xfrm>
          <a:off x="3808469" y="842638"/>
          <a:ext cx="1189065" cy="8596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2300" kern="1200" dirty="0" smtClean="0"/>
            <a:t>Garages</a:t>
          </a:r>
          <a:endParaRPr lang="en-US" sz="2300" kern="1200" dirty="0"/>
        </a:p>
      </dsp:txBody>
      <dsp:txXfrm>
        <a:off x="3808469" y="842638"/>
        <a:ext cx="1189065" cy="859681"/>
      </dsp:txXfrm>
    </dsp:sp>
    <dsp:sp modelId="{58A8BA03-1CF0-4BE5-B626-23B1E5E4700A}">
      <dsp:nvSpPr>
        <dsp:cNvPr id="0" name=""/>
        <dsp:cNvSpPr/>
      </dsp:nvSpPr>
      <dsp:spPr>
        <a:xfrm>
          <a:off x="2851571" y="2043162"/>
          <a:ext cx="888270" cy="888084"/>
        </a:xfrm>
        <a:prstGeom prst="ellipse">
          <a:avLst/>
        </a:prstGeom>
        <a:blipFill>
          <a:blip xmlns:r="http://schemas.openxmlformats.org/officeDocument/2006/relationships" r:embed="rId3"/>
          <a:srcRect/>
          <a:stretch>
            <a:fillRect t="-15000" b="-1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3E58B3-E96B-4DAC-932F-4621A30810A1}">
      <dsp:nvSpPr>
        <dsp:cNvPr id="0" name=""/>
        <dsp:cNvSpPr/>
      </dsp:nvSpPr>
      <dsp:spPr>
        <a:xfrm>
          <a:off x="3808469" y="2057553"/>
          <a:ext cx="1189065" cy="8596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2300" kern="1200" dirty="0" smtClean="0"/>
            <a:t>Parking meters</a:t>
          </a:r>
          <a:endParaRPr lang="en-US" sz="2300" kern="1200" dirty="0"/>
        </a:p>
      </dsp:txBody>
      <dsp:txXfrm>
        <a:off x="3808469" y="2057553"/>
        <a:ext cx="1189065" cy="859681"/>
      </dsp:txXfrm>
    </dsp:sp>
    <dsp:sp modelId="{35E1DA5F-AA98-4A91-8484-AA973BE36A20}">
      <dsp:nvSpPr>
        <dsp:cNvPr id="0" name=""/>
        <dsp:cNvSpPr/>
      </dsp:nvSpPr>
      <dsp:spPr>
        <a:xfrm>
          <a:off x="2198875" y="2899056"/>
          <a:ext cx="888270" cy="888084"/>
        </a:xfrm>
        <a:prstGeom prst="ellipse">
          <a:avLst/>
        </a:prstGeom>
        <a:blipFill>
          <a:blip xmlns:r="http://schemas.openxmlformats.org/officeDocument/2006/relationships"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CD3372-CC66-40AC-902A-176371573D82}">
      <dsp:nvSpPr>
        <dsp:cNvPr id="0" name=""/>
        <dsp:cNvSpPr/>
      </dsp:nvSpPr>
      <dsp:spPr>
        <a:xfrm>
          <a:off x="3154800" y="2917234"/>
          <a:ext cx="1189065" cy="8596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2300" kern="1200" dirty="0" smtClean="0"/>
            <a:t>Charging stations</a:t>
          </a:r>
          <a:endParaRPr lang="en-US" sz="2300" kern="1200" dirty="0"/>
        </a:p>
      </dsp:txBody>
      <dsp:txXfrm>
        <a:off x="3154800" y="2917234"/>
        <a:ext cx="1189065" cy="85968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1682DC-72B2-4A76-9782-E3617B2899EF}">
      <dsp:nvSpPr>
        <dsp:cNvPr id="0" name=""/>
        <dsp:cNvSpPr/>
      </dsp:nvSpPr>
      <dsp:spPr>
        <a:xfrm>
          <a:off x="240939" y="428115"/>
          <a:ext cx="918931" cy="91893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C6362817-41CA-4299-B9E4-7AAAA3B878A1}">
      <dsp:nvSpPr>
        <dsp:cNvPr id="0" name=""/>
        <dsp:cNvSpPr/>
      </dsp:nvSpPr>
      <dsp:spPr>
        <a:xfrm>
          <a:off x="700405" y="428115"/>
          <a:ext cx="4902834" cy="9189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41910" rIns="0" bIns="41910" numCol="1" spcCol="1270" anchor="ctr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chemeClr val="accent1"/>
              </a:solidFill>
            </a:rPr>
            <a:t>Search POI by location code</a:t>
          </a:r>
          <a:endParaRPr lang="en-US" sz="3300" kern="1200" dirty="0">
            <a:solidFill>
              <a:schemeClr val="accent1"/>
            </a:solidFill>
          </a:endParaRPr>
        </a:p>
      </dsp:txBody>
      <dsp:txXfrm>
        <a:off x="700405" y="428115"/>
        <a:ext cx="4902834" cy="918931"/>
      </dsp:txXfrm>
    </dsp:sp>
    <dsp:sp modelId="{6C192065-2BE0-4609-BE5B-4E263BA19947}">
      <dsp:nvSpPr>
        <dsp:cNvPr id="0" name=""/>
        <dsp:cNvSpPr/>
      </dsp:nvSpPr>
      <dsp:spPr>
        <a:xfrm>
          <a:off x="240939" y="1347046"/>
          <a:ext cx="918931" cy="91893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C4FDEEB0-6DB0-47D4-823E-CBF40CFC4D85}">
      <dsp:nvSpPr>
        <dsp:cNvPr id="0" name=""/>
        <dsp:cNvSpPr/>
      </dsp:nvSpPr>
      <dsp:spPr>
        <a:xfrm>
          <a:off x="700405" y="1347046"/>
          <a:ext cx="4902834" cy="9189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41910" rIns="0" bIns="41910" numCol="1" spcCol="1270" anchor="ctr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chemeClr val="accent1"/>
              </a:solidFill>
            </a:rPr>
            <a:t>Search POI by GPS location</a:t>
          </a:r>
          <a:endParaRPr lang="en-US" sz="3300" kern="1200" dirty="0">
            <a:solidFill>
              <a:schemeClr val="accent1"/>
            </a:solidFill>
          </a:endParaRPr>
        </a:p>
      </dsp:txBody>
      <dsp:txXfrm>
        <a:off x="700405" y="1347046"/>
        <a:ext cx="4902834" cy="9189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RadialPictureList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50E4D1-FE38-44A7-AE5A-B714B9C61EDD}" type="datetimeFigureOut">
              <a:rPr lang="en-GB" smtClean="0"/>
              <a:t>06/06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B7D55-4A0C-475E-9CBB-F45F07981F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516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B7D55-4A0C-475E-9CBB-F45F07981FC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14734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DEMO:</a:t>
            </a:r>
          </a:p>
          <a:p>
            <a:r>
              <a:rPr lang="nl-NL" dirty="0" smtClean="0"/>
              <a:t>1. </a:t>
            </a:r>
            <a:r>
              <a:rPr lang="nl-NL" dirty="0" err="1" smtClean="0"/>
              <a:t>Github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B7D55-4A0C-475E-9CBB-F45F07981FC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8588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2B7D55-4A0C-475E-9CBB-F45F07981FC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56311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2B7D55-4A0C-475E-9CBB-F45F07981FC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9299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rkmobile AKA </a:t>
            </a:r>
            <a:r>
              <a:rPr lang="en-US" dirty="0" err="1"/>
              <a:t>ParkNow</a:t>
            </a:r>
            <a:r>
              <a:rPr lang="en-US" dirty="0"/>
              <a:t>, pat of mobility joint-venture between age old nemesis BMW &amp; Daiml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B7D55-4A0C-475E-9CBB-F45F07981FC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05235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ere we want to move towards, more freed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BF0520-7FBC-4796-A466-9C64090DB2A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85884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BF0520-7FBC-4796-A466-9C64090DB2AE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2609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BF0520-7FBC-4796-A466-9C64090DB2AE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15140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2B7D55-4A0C-475E-9CBB-F45F07981FC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13316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s:</a:t>
            </a:r>
          </a:p>
          <a:p>
            <a:r>
              <a:rPr lang="en-US" dirty="0" smtClean="0"/>
              <a:t>Add arrow</a:t>
            </a:r>
            <a:r>
              <a:rPr lang="en-US" baseline="0" dirty="0" smtClean="0"/>
              <a:t> pointing to the location code</a:t>
            </a:r>
          </a:p>
          <a:p>
            <a:r>
              <a:rPr lang="en-US" baseline="0" dirty="0" smtClean="0"/>
              <a:t>Add remark about signage code = location code</a:t>
            </a:r>
          </a:p>
          <a:p>
            <a:r>
              <a:rPr lang="en-US" baseline="0" dirty="0" smtClean="0"/>
              <a:t>Create separate slide per endpoint with according pictures</a:t>
            </a:r>
          </a:p>
          <a:p>
            <a:r>
              <a:rPr lang="en-US" baseline="0" dirty="0" smtClean="0"/>
              <a:t>	</a:t>
            </a:r>
            <a:r>
              <a:rPr lang="en-US" baseline="0" dirty="0" err="1" smtClean="0"/>
              <a:t>Lat</a:t>
            </a:r>
            <a:r>
              <a:rPr lang="en-US" baseline="0" dirty="0" smtClean="0"/>
              <a:t>/Lon : add picture charging point,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2B7D55-4A0C-475E-9CBB-F45F07981FC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91798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2B7D55-4A0C-475E-9CBB-F45F07981FC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5391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dd pictures and split</a:t>
            </a:r>
            <a:r>
              <a:rPr lang="en-US" baseline="0" dirty="0" smtClean="0"/>
              <a:t> up per end-poi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2B7D55-4A0C-475E-9CBB-F45F07981FC5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2093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BF7B0546-EF62-4714-AAAD-A2FE9E5F30B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58986" y="1976139"/>
            <a:ext cx="5550313" cy="3734627"/>
          </a:xfrm>
          <a:custGeom>
            <a:avLst/>
            <a:gdLst>
              <a:gd name="connsiteX0" fmla="*/ 0 w 4162735"/>
              <a:gd name="connsiteY0" fmla="*/ 0 h 2804145"/>
              <a:gd name="connsiteX1" fmla="*/ 4162735 w 4162735"/>
              <a:gd name="connsiteY1" fmla="*/ 0 h 2804145"/>
              <a:gd name="connsiteX2" fmla="*/ 4162735 w 4162735"/>
              <a:gd name="connsiteY2" fmla="*/ 2804145 h 2804145"/>
              <a:gd name="connsiteX3" fmla="*/ 0 w 4162735"/>
              <a:gd name="connsiteY3" fmla="*/ 2804145 h 2804145"/>
              <a:gd name="connsiteX4" fmla="*/ 0 w 4162735"/>
              <a:gd name="connsiteY4" fmla="*/ 0 h 2804145"/>
              <a:gd name="connsiteX0" fmla="*/ 0 w 4162735"/>
              <a:gd name="connsiteY0" fmla="*/ 0 h 2804145"/>
              <a:gd name="connsiteX1" fmla="*/ 4162735 w 4162735"/>
              <a:gd name="connsiteY1" fmla="*/ 0 h 2804145"/>
              <a:gd name="connsiteX2" fmla="*/ 4162735 w 4162735"/>
              <a:gd name="connsiteY2" fmla="*/ 2804145 h 2804145"/>
              <a:gd name="connsiteX3" fmla="*/ 171450 w 4162735"/>
              <a:gd name="connsiteY3" fmla="*/ 2800970 h 2804145"/>
              <a:gd name="connsiteX4" fmla="*/ 0 w 4162735"/>
              <a:gd name="connsiteY4" fmla="*/ 0 h 2804145"/>
              <a:gd name="connsiteX0" fmla="*/ 0 w 4162735"/>
              <a:gd name="connsiteY0" fmla="*/ 0 h 2800970"/>
              <a:gd name="connsiteX1" fmla="*/ 4162735 w 4162735"/>
              <a:gd name="connsiteY1" fmla="*/ 0 h 2800970"/>
              <a:gd name="connsiteX2" fmla="*/ 3988110 w 4162735"/>
              <a:gd name="connsiteY2" fmla="*/ 2645395 h 2800970"/>
              <a:gd name="connsiteX3" fmla="*/ 171450 w 4162735"/>
              <a:gd name="connsiteY3" fmla="*/ 2800970 h 2800970"/>
              <a:gd name="connsiteX4" fmla="*/ 0 w 4162735"/>
              <a:gd name="connsiteY4" fmla="*/ 0 h 280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2735" h="2800970">
                <a:moveTo>
                  <a:pt x="0" y="0"/>
                </a:moveTo>
                <a:lnTo>
                  <a:pt x="4162735" y="0"/>
                </a:lnTo>
                <a:lnTo>
                  <a:pt x="3988110" y="2645395"/>
                </a:lnTo>
                <a:lnTo>
                  <a:pt x="171450" y="280097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  <a:tileRect/>
          </a:gradFill>
        </p:spPr>
        <p:txBody>
          <a:bodyPr lIns="576000" tIns="414000" rIns="144000" anchor="t"/>
          <a:lstStyle>
            <a:lvl1pPr>
              <a:lnSpc>
                <a:spcPct val="88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27416" y="4558272"/>
            <a:ext cx="2425323" cy="826528"/>
          </a:xfrm>
        </p:spPr>
        <p:txBody>
          <a:bodyPr anchor="b"/>
          <a:lstStyle>
            <a:lvl1pPr marL="0" indent="0" algn="l">
              <a:lnSpc>
                <a:spcPct val="105000"/>
              </a:lnSpc>
              <a:buNone/>
              <a:defRPr sz="1333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Department</a:t>
            </a:r>
            <a:br>
              <a:rPr lang="en-US" noProof="0" dirty="0"/>
            </a:br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2A3B7D-BC91-4E4C-AB49-6F7780F48F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7416" y="4258733"/>
            <a:ext cx="4537557" cy="226384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99DB352-3444-46ED-9488-DA5A1431A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92613" y="4558271"/>
            <a:ext cx="3024000" cy="1689600"/>
          </a:xfrm>
          <a:blipFill rotWithShape="1"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533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20782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>
            <a:extLst>
              <a:ext uri="{FF2B5EF4-FFF2-40B4-BE49-F238E27FC236}">
                <a16:creationId xmlns:a16="http://schemas.microsoft.com/office/drawing/2014/main" id="{B04A2CA5-C1A3-4B96-9590-6057F595F1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575733" y="559472"/>
            <a:ext cx="6739467" cy="4248161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  <a:gd name="connsiteX0" fmla="*/ 0 w 10000"/>
              <a:gd name="connsiteY0" fmla="*/ 0 h 9449"/>
              <a:gd name="connsiteX1" fmla="*/ 599 w 10000"/>
              <a:gd name="connsiteY1" fmla="*/ 8918 h 9449"/>
              <a:gd name="connsiteX2" fmla="*/ 9610 w 10000"/>
              <a:gd name="connsiteY2" fmla="*/ 9449 h 9449"/>
              <a:gd name="connsiteX3" fmla="*/ 10000 w 10000"/>
              <a:gd name="connsiteY3" fmla="*/ 0 h 9449"/>
              <a:gd name="connsiteX4" fmla="*/ 0 w 10000"/>
              <a:gd name="connsiteY4" fmla="*/ 0 h 9449"/>
              <a:gd name="connsiteX0" fmla="*/ 0 w 10000"/>
              <a:gd name="connsiteY0" fmla="*/ 0 h 10000"/>
              <a:gd name="connsiteX1" fmla="*/ 404 w 10000"/>
              <a:gd name="connsiteY1" fmla="*/ 9872 h 10000"/>
              <a:gd name="connsiteX2" fmla="*/ 961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9872"/>
              <a:gd name="connsiteX1" fmla="*/ 404 w 10000"/>
              <a:gd name="connsiteY1" fmla="*/ 9872 h 9872"/>
              <a:gd name="connsiteX2" fmla="*/ 9246 w 10000"/>
              <a:gd name="connsiteY2" fmla="*/ 8609 h 9872"/>
              <a:gd name="connsiteX3" fmla="*/ 10000 w 10000"/>
              <a:gd name="connsiteY3" fmla="*/ 0 h 9872"/>
              <a:gd name="connsiteX4" fmla="*/ 0 w 10000"/>
              <a:gd name="connsiteY4" fmla="*/ 0 h 9872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30"/>
              <a:gd name="connsiteX1" fmla="*/ 410 w 10000"/>
              <a:gd name="connsiteY1" fmla="*/ 10030 h 10030"/>
              <a:gd name="connsiteX2" fmla="*/ 9598 w 10000"/>
              <a:gd name="connsiteY2" fmla="*/ 9491 h 10030"/>
              <a:gd name="connsiteX3" fmla="*/ 10000 w 10000"/>
              <a:gd name="connsiteY3" fmla="*/ 0 h 10030"/>
              <a:gd name="connsiteX4" fmla="*/ 0 w 10000"/>
              <a:gd name="connsiteY4" fmla="*/ 0 h 10030"/>
              <a:gd name="connsiteX0" fmla="*/ 0 w 10000"/>
              <a:gd name="connsiteY0" fmla="*/ 0 h 10030"/>
              <a:gd name="connsiteX1" fmla="*/ 410 w 10000"/>
              <a:gd name="connsiteY1" fmla="*/ 10030 h 10030"/>
              <a:gd name="connsiteX2" fmla="*/ 9598 w 10000"/>
              <a:gd name="connsiteY2" fmla="*/ 9491 h 10030"/>
              <a:gd name="connsiteX3" fmla="*/ 10000 w 10000"/>
              <a:gd name="connsiteY3" fmla="*/ 0 h 10030"/>
              <a:gd name="connsiteX4" fmla="*/ 0 w 10000"/>
              <a:gd name="connsiteY4" fmla="*/ 0 h 1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30">
                <a:moveTo>
                  <a:pt x="0" y="0"/>
                </a:moveTo>
                <a:cubicBezTo>
                  <a:pt x="137" y="3343"/>
                  <a:pt x="273" y="6687"/>
                  <a:pt x="410" y="10030"/>
                </a:cubicBezTo>
                <a:lnTo>
                  <a:pt x="9598" y="9491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67" y="1425478"/>
            <a:ext cx="5568619" cy="2243549"/>
          </a:xfrm>
        </p:spPr>
        <p:txBody>
          <a:bodyPr anchor="t"/>
          <a:lstStyle>
            <a:lvl1pPr>
              <a:lnSpc>
                <a:spcPct val="7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5467" y="3657006"/>
            <a:ext cx="5568619" cy="73210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5509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>
            <a:extLst>
              <a:ext uri="{FF2B5EF4-FFF2-40B4-BE49-F238E27FC236}">
                <a16:creationId xmlns:a16="http://schemas.microsoft.com/office/drawing/2014/main" id="{DCCA52E4-2CF2-41C3-80B9-C007F25291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575733" y="559472"/>
            <a:ext cx="6739467" cy="4248161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  <a:gd name="connsiteX0" fmla="*/ 0 w 10000"/>
              <a:gd name="connsiteY0" fmla="*/ 0 h 9449"/>
              <a:gd name="connsiteX1" fmla="*/ 599 w 10000"/>
              <a:gd name="connsiteY1" fmla="*/ 8918 h 9449"/>
              <a:gd name="connsiteX2" fmla="*/ 9610 w 10000"/>
              <a:gd name="connsiteY2" fmla="*/ 9449 h 9449"/>
              <a:gd name="connsiteX3" fmla="*/ 10000 w 10000"/>
              <a:gd name="connsiteY3" fmla="*/ 0 h 9449"/>
              <a:gd name="connsiteX4" fmla="*/ 0 w 10000"/>
              <a:gd name="connsiteY4" fmla="*/ 0 h 9449"/>
              <a:gd name="connsiteX0" fmla="*/ 0 w 10000"/>
              <a:gd name="connsiteY0" fmla="*/ 0 h 10000"/>
              <a:gd name="connsiteX1" fmla="*/ 404 w 10000"/>
              <a:gd name="connsiteY1" fmla="*/ 9872 h 10000"/>
              <a:gd name="connsiteX2" fmla="*/ 961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9872"/>
              <a:gd name="connsiteX1" fmla="*/ 404 w 10000"/>
              <a:gd name="connsiteY1" fmla="*/ 9872 h 9872"/>
              <a:gd name="connsiteX2" fmla="*/ 9246 w 10000"/>
              <a:gd name="connsiteY2" fmla="*/ 8609 h 9872"/>
              <a:gd name="connsiteX3" fmla="*/ 10000 w 10000"/>
              <a:gd name="connsiteY3" fmla="*/ 0 h 9872"/>
              <a:gd name="connsiteX4" fmla="*/ 0 w 10000"/>
              <a:gd name="connsiteY4" fmla="*/ 0 h 9872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30"/>
              <a:gd name="connsiteX1" fmla="*/ 410 w 10000"/>
              <a:gd name="connsiteY1" fmla="*/ 10030 h 10030"/>
              <a:gd name="connsiteX2" fmla="*/ 9598 w 10000"/>
              <a:gd name="connsiteY2" fmla="*/ 9491 h 10030"/>
              <a:gd name="connsiteX3" fmla="*/ 10000 w 10000"/>
              <a:gd name="connsiteY3" fmla="*/ 0 h 10030"/>
              <a:gd name="connsiteX4" fmla="*/ 0 w 10000"/>
              <a:gd name="connsiteY4" fmla="*/ 0 h 10030"/>
              <a:gd name="connsiteX0" fmla="*/ 0 w 10000"/>
              <a:gd name="connsiteY0" fmla="*/ 0 h 10030"/>
              <a:gd name="connsiteX1" fmla="*/ 410 w 10000"/>
              <a:gd name="connsiteY1" fmla="*/ 10030 h 10030"/>
              <a:gd name="connsiteX2" fmla="*/ 9598 w 10000"/>
              <a:gd name="connsiteY2" fmla="*/ 9491 h 10030"/>
              <a:gd name="connsiteX3" fmla="*/ 10000 w 10000"/>
              <a:gd name="connsiteY3" fmla="*/ 0 h 10030"/>
              <a:gd name="connsiteX4" fmla="*/ 0 w 10000"/>
              <a:gd name="connsiteY4" fmla="*/ 0 h 1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30">
                <a:moveTo>
                  <a:pt x="0" y="0"/>
                </a:moveTo>
                <a:cubicBezTo>
                  <a:pt x="137" y="3343"/>
                  <a:pt x="273" y="6687"/>
                  <a:pt x="410" y="10030"/>
                </a:cubicBezTo>
                <a:lnTo>
                  <a:pt x="9598" y="9491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67" y="1425478"/>
            <a:ext cx="5568619" cy="2243549"/>
          </a:xfrm>
        </p:spPr>
        <p:txBody>
          <a:bodyPr anchor="t"/>
          <a:lstStyle>
            <a:lvl1pPr>
              <a:lnSpc>
                <a:spcPct val="7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5467" y="3657006"/>
            <a:ext cx="5568619" cy="73210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1019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>
            <a:extLst>
              <a:ext uri="{FF2B5EF4-FFF2-40B4-BE49-F238E27FC236}">
                <a16:creationId xmlns:a16="http://schemas.microsoft.com/office/drawing/2014/main" id="{23A008CD-383F-446A-B12D-6012B8E2EB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575733" y="559472"/>
            <a:ext cx="6739467" cy="4248161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  <a:gd name="connsiteX0" fmla="*/ 0 w 10000"/>
              <a:gd name="connsiteY0" fmla="*/ 0 h 9449"/>
              <a:gd name="connsiteX1" fmla="*/ 599 w 10000"/>
              <a:gd name="connsiteY1" fmla="*/ 8918 h 9449"/>
              <a:gd name="connsiteX2" fmla="*/ 9610 w 10000"/>
              <a:gd name="connsiteY2" fmla="*/ 9449 h 9449"/>
              <a:gd name="connsiteX3" fmla="*/ 10000 w 10000"/>
              <a:gd name="connsiteY3" fmla="*/ 0 h 9449"/>
              <a:gd name="connsiteX4" fmla="*/ 0 w 10000"/>
              <a:gd name="connsiteY4" fmla="*/ 0 h 9449"/>
              <a:gd name="connsiteX0" fmla="*/ 0 w 10000"/>
              <a:gd name="connsiteY0" fmla="*/ 0 h 10000"/>
              <a:gd name="connsiteX1" fmla="*/ 404 w 10000"/>
              <a:gd name="connsiteY1" fmla="*/ 9872 h 10000"/>
              <a:gd name="connsiteX2" fmla="*/ 961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9872"/>
              <a:gd name="connsiteX1" fmla="*/ 404 w 10000"/>
              <a:gd name="connsiteY1" fmla="*/ 9872 h 9872"/>
              <a:gd name="connsiteX2" fmla="*/ 9246 w 10000"/>
              <a:gd name="connsiteY2" fmla="*/ 8609 h 9872"/>
              <a:gd name="connsiteX3" fmla="*/ 10000 w 10000"/>
              <a:gd name="connsiteY3" fmla="*/ 0 h 9872"/>
              <a:gd name="connsiteX4" fmla="*/ 0 w 10000"/>
              <a:gd name="connsiteY4" fmla="*/ 0 h 9872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30"/>
              <a:gd name="connsiteX1" fmla="*/ 410 w 10000"/>
              <a:gd name="connsiteY1" fmla="*/ 10030 h 10030"/>
              <a:gd name="connsiteX2" fmla="*/ 9598 w 10000"/>
              <a:gd name="connsiteY2" fmla="*/ 9491 h 10030"/>
              <a:gd name="connsiteX3" fmla="*/ 10000 w 10000"/>
              <a:gd name="connsiteY3" fmla="*/ 0 h 10030"/>
              <a:gd name="connsiteX4" fmla="*/ 0 w 10000"/>
              <a:gd name="connsiteY4" fmla="*/ 0 h 10030"/>
              <a:gd name="connsiteX0" fmla="*/ 0 w 10000"/>
              <a:gd name="connsiteY0" fmla="*/ 0 h 10030"/>
              <a:gd name="connsiteX1" fmla="*/ 410 w 10000"/>
              <a:gd name="connsiteY1" fmla="*/ 10030 h 10030"/>
              <a:gd name="connsiteX2" fmla="*/ 9598 w 10000"/>
              <a:gd name="connsiteY2" fmla="*/ 9491 h 10030"/>
              <a:gd name="connsiteX3" fmla="*/ 10000 w 10000"/>
              <a:gd name="connsiteY3" fmla="*/ 0 h 10030"/>
              <a:gd name="connsiteX4" fmla="*/ 0 w 10000"/>
              <a:gd name="connsiteY4" fmla="*/ 0 h 1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30">
                <a:moveTo>
                  <a:pt x="0" y="0"/>
                </a:moveTo>
                <a:cubicBezTo>
                  <a:pt x="137" y="3343"/>
                  <a:pt x="273" y="6687"/>
                  <a:pt x="410" y="10030"/>
                </a:cubicBezTo>
                <a:lnTo>
                  <a:pt x="9598" y="9491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67" y="1425478"/>
            <a:ext cx="5568619" cy="2243549"/>
          </a:xfrm>
        </p:spPr>
        <p:txBody>
          <a:bodyPr anchor="t"/>
          <a:lstStyle>
            <a:lvl1pPr>
              <a:lnSpc>
                <a:spcPct val="7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5467" y="3657006"/>
            <a:ext cx="5568619" cy="73210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14962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9DD64D52-EFAA-4F53-95EE-6266230C72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568669" y="559472"/>
            <a:ext cx="7687571" cy="4550749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  <a:gd name="connsiteX0" fmla="*/ 0 w 10000"/>
              <a:gd name="connsiteY0" fmla="*/ 0 h 9449"/>
              <a:gd name="connsiteX1" fmla="*/ 758 w 10000"/>
              <a:gd name="connsiteY1" fmla="*/ 8173 h 9449"/>
              <a:gd name="connsiteX2" fmla="*/ 9610 w 10000"/>
              <a:gd name="connsiteY2" fmla="*/ 9449 h 9449"/>
              <a:gd name="connsiteX3" fmla="*/ 10000 w 10000"/>
              <a:gd name="connsiteY3" fmla="*/ 0 h 9449"/>
              <a:gd name="connsiteX4" fmla="*/ 0 w 10000"/>
              <a:gd name="connsiteY4" fmla="*/ 0 h 9449"/>
              <a:gd name="connsiteX0" fmla="*/ 0 w 10000"/>
              <a:gd name="connsiteY0" fmla="*/ 0 h 8650"/>
              <a:gd name="connsiteX1" fmla="*/ 758 w 10000"/>
              <a:gd name="connsiteY1" fmla="*/ 8650 h 8650"/>
              <a:gd name="connsiteX2" fmla="*/ 8602 w 10000"/>
              <a:gd name="connsiteY2" fmla="*/ 8106 h 8650"/>
              <a:gd name="connsiteX3" fmla="*/ 10000 w 10000"/>
              <a:gd name="connsiteY3" fmla="*/ 0 h 8650"/>
              <a:gd name="connsiteX4" fmla="*/ 0 w 10000"/>
              <a:gd name="connsiteY4" fmla="*/ 0 h 8650"/>
              <a:gd name="connsiteX0" fmla="*/ 0 w 10000"/>
              <a:gd name="connsiteY0" fmla="*/ 0 h 10191"/>
              <a:gd name="connsiteX1" fmla="*/ 758 w 10000"/>
              <a:gd name="connsiteY1" fmla="*/ 10000 h 10191"/>
              <a:gd name="connsiteX2" fmla="*/ 9599 w 10000"/>
              <a:gd name="connsiteY2" fmla="*/ 10191 h 10191"/>
              <a:gd name="connsiteX3" fmla="*/ 10000 w 10000"/>
              <a:gd name="connsiteY3" fmla="*/ 0 h 10191"/>
              <a:gd name="connsiteX4" fmla="*/ 0 w 10000"/>
              <a:gd name="connsiteY4" fmla="*/ 0 h 10191"/>
              <a:gd name="connsiteX0" fmla="*/ 0 w 10000"/>
              <a:gd name="connsiteY0" fmla="*/ 0 h 10750"/>
              <a:gd name="connsiteX1" fmla="*/ 422 w 10000"/>
              <a:gd name="connsiteY1" fmla="*/ 10750 h 10750"/>
              <a:gd name="connsiteX2" fmla="*/ 9599 w 10000"/>
              <a:gd name="connsiteY2" fmla="*/ 10191 h 10750"/>
              <a:gd name="connsiteX3" fmla="*/ 10000 w 10000"/>
              <a:gd name="connsiteY3" fmla="*/ 0 h 10750"/>
              <a:gd name="connsiteX4" fmla="*/ 0 w 10000"/>
              <a:gd name="connsiteY4" fmla="*/ 0 h 10750"/>
              <a:gd name="connsiteX0" fmla="*/ 0 w 10000"/>
              <a:gd name="connsiteY0" fmla="*/ 0 h 10750"/>
              <a:gd name="connsiteX1" fmla="*/ 422 w 10000"/>
              <a:gd name="connsiteY1" fmla="*/ 10750 h 10750"/>
              <a:gd name="connsiteX2" fmla="*/ 9599 w 10000"/>
              <a:gd name="connsiteY2" fmla="*/ 10191 h 10750"/>
              <a:gd name="connsiteX3" fmla="*/ 10000 w 10000"/>
              <a:gd name="connsiteY3" fmla="*/ 0 h 10750"/>
              <a:gd name="connsiteX4" fmla="*/ 0 w 10000"/>
              <a:gd name="connsiteY4" fmla="*/ 0 h 1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750">
                <a:moveTo>
                  <a:pt x="0" y="0"/>
                </a:moveTo>
                <a:cubicBezTo>
                  <a:pt x="141" y="3583"/>
                  <a:pt x="281" y="7167"/>
                  <a:pt x="422" y="10750"/>
                </a:cubicBezTo>
                <a:lnTo>
                  <a:pt x="9599" y="10191"/>
                </a:lnTo>
                <a:cubicBezTo>
                  <a:pt x="9733" y="6794"/>
                  <a:pt x="9866" y="3397"/>
                  <a:pt x="1000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83499" y="1427641"/>
            <a:ext cx="5731701" cy="2166459"/>
          </a:xfrm>
        </p:spPr>
        <p:txBody>
          <a:bodyPr anchor="t"/>
          <a:lstStyle>
            <a:lvl1pPr>
              <a:lnSpc>
                <a:spcPct val="75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83499" y="3646421"/>
            <a:ext cx="5731701" cy="611368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5270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BF7B0546-EF62-4714-AAAD-A2FE9E5F30B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50176" y="567732"/>
            <a:ext cx="6765024" cy="4253517"/>
          </a:xfrm>
          <a:custGeom>
            <a:avLst/>
            <a:gdLst>
              <a:gd name="connsiteX0" fmla="*/ 0 w 4162735"/>
              <a:gd name="connsiteY0" fmla="*/ 0 h 2804145"/>
              <a:gd name="connsiteX1" fmla="*/ 4162735 w 4162735"/>
              <a:gd name="connsiteY1" fmla="*/ 0 h 2804145"/>
              <a:gd name="connsiteX2" fmla="*/ 4162735 w 4162735"/>
              <a:gd name="connsiteY2" fmla="*/ 2804145 h 2804145"/>
              <a:gd name="connsiteX3" fmla="*/ 0 w 4162735"/>
              <a:gd name="connsiteY3" fmla="*/ 2804145 h 2804145"/>
              <a:gd name="connsiteX4" fmla="*/ 0 w 4162735"/>
              <a:gd name="connsiteY4" fmla="*/ 0 h 2804145"/>
              <a:gd name="connsiteX0" fmla="*/ 0 w 4162735"/>
              <a:gd name="connsiteY0" fmla="*/ 0 h 2804145"/>
              <a:gd name="connsiteX1" fmla="*/ 4162735 w 4162735"/>
              <a:gd name="connsiteY1" fmla="*/ 0 h 2804145"/>
              <a:gd name="connsiteX2" fmla="*/ 4162735 w 4162735"/>
              <a:gd name="connsiteY2" fmla="*/ 2804145 h 2804145"/>
              <a:gd name="connsiteX3" fmla="*/ 171450 w 4162735"/>
              <a:gd name="connsiteY3" fmla="*/ 2800970 h 2804145"/>
              <a:gd name="connsiteX4" fmla="*/ 0 w 4162735"/>
              <a:gd name="connsiteY4" fmla="*/ 0 h 2804145"/>
              <a:gd name="connsiteX0" fmla="*/ 0 w 4162735"/>
              <a:gd name="connsiteY0" fmla="*/ 0 h 2800970"/>
              <a:gd name="connsiteX1" fmla="*/ 4162735 w 4162735"/>
              <a:gd name="connsiteY1" fmla="*/ 0 h 2800970"/>
              <a:gd name="connsiteX2" fmla="*/ 3988110 w 4162735"/>
              <a:gd name="connsiteY2" fmla="*/ 2645395 h 2800970"/>
              <a:gd name="connsiteX3" fmla="*/ 171450 w 4162735"/>
              <a:gd name="connsiteY3" fmla="*/ 2800970 h 2800970"/>
              <a:gd name="connsiteX4" fmla="*/ 0 w 4162735"/>
              <a:gd name="connsiteY4" fmla="*/ 0 h 2800970"/>
              <a:gd name="connsiteX0" fmla="*/ 0 w 4162735"/>
              <a:gd name="connsiteY0" fmla="*/ 0 h 2800970"/>
              <a:gd name="connsiteX1" fmla="*/ 4162735 w 4162735"/>
              <a:gd name="connsiteY1" fmla="*/ 0 h 2800970"/>
              <a:gd name="connsiteX2" fmla="*/ 3988110 w 4162735"/>
              <a:gd name="connsiteY2" fmla="*/ 2465657 h 2800970"/>
              <a:gd name="connsiteX3" fmla="*/ 171450 w 4162735"/>
              <a:gd name="connsiteY3" fmla="*/ 2800970 h 2800970"/>
              <a:gd name="connsiteX4" fmla="*/ 0 w 4162735"/>
              <a:gd name="connsiteY4" fmla="*/ 0 h 2800970"/>
              <a:gd name="connsiteX0" fmla="*/ 0 w 4162735"/>
              <a:gd name="connsiteY0" fmla="*/ 0 h 2617325"/>
              <a:gd name="connsiteX1" fmla="*/ 4162735 w 4162735"/>
              <a:gd name="connsiteY1" fmla="*/ 0 h 2617325"/>
              <a:gd name="connsiteX2" fmla="*/ 3988110 w 4162735"/>
              <a:gd name="connsiteY2" fmla="*/ 2465657 h 2617325"/>
              <a:gd name="connsiteX3" fmla="*/ 179265 w 4162735"/>
              <a:gd name="connsiteY3" fmla="*/ 2617325 h 2617325"/>
              <a:gd name="connsiteX4" fmla="*/ 0 w 4162735"/>
              <a:gd name="connsiteY4" fmla="*/ 0 h 2617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2735" h="2617325">
                <a:moveTo>
                  <a:pt x="0" y="0"/>
                </a:moveTo>
                <a:lnTo>
                  <a:pt x="4162735" y="0"/>
                </a:lnTo>
                <a:lnTo>
                  <a:pt x="3988110" y="2465657"/>
                </a:lnTo>
                <a:lnTo>
                  <a:pt x="179265" y="261732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576000" tIns="612000" rIns="144000" anchor="t"/>
          <a:lstStyle>
            <a:lvl1pPr>
              <a:lnSpc>
                <a:spcPct val="78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2A3B7D-BC91-4E4C-AB49-6F7780F48F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7734" y="3669027"/>
            <a:ext cx="5526351" cy="72008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55531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BF7B0546-EF62-4714-AAAD-A2FE9E5F30B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75734" y="3033435"/>
            <a:ext cx="6548967" cy="2267773"/>
          </a:xfrm>
          <a:prstGeom prst="rect">
            <a:avLst/>
          </a:prstGeom>
          <a:noFill/>
          <a:ln>
            <a:noFill/>
          </a:ln>
        </p:spPr>
        <p:txBody>
          <a:bodyPr lIns="0" tIns="0" rIns="0" anchor="t"/>
          <a:lstStyle>
            <a:lvl1pPr>
              <a:lnSpc>
                <a:spcPct val="78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2A3B7D-BC91-4E4C-AB49-6F7780F48F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4147" y="5308725"/>
            <a:ext cx="6548967" cy="66455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88284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BF7B0546-EF62-4714-AAAD-A2FE9E5F30B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67299" y="3033435"/>
            <a:ext cx="6548967" cy="2267773"/>
          </a:xfrm>
          <a:prstGeom prst="rect">
            <a:avLst/>
          </a:prstGeom>
          <a:noFill/>
          <a:ln>
            <a:noFill/>
          </a:ln>
        </p:spPr>
        <p:txBody>
          <a:bodyPr lIns="0" tIns="0" rIns="0" anchor="t"/>
          <a:lstStyle>
            <a:lvl1pPr>
              <a:lnSpc>
                <a:spcPct val="78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2A3B7D-BC91-4E4C-AB49-6F7780F48F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65713" y="5308725"/>
            <a:ext cx="6548967" cy="66455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71797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D665BC53-75ED-4DBA-8B20-B4665E661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2DC0918-2FC2-4746-A070-59E502DE378C}"/>
              </a:ext>
            </a:extLst>
          </p:cNvPr>
          <p:cNvSpPr>
            <a:spLocks/>
          </p:cNvSpPr>
          <p:nvPr userDrawn="1"/>
        </p:nvSpPr>
        <p:spPr bwMode="auto">
          <a:xfrm>
            <a:off x="568670" y="575302"/>
            <a:ext cx="11047597" cy="5688169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  <a:gd name="connsiteX0" fmla="*/ 0 w 10000"/>
              <a:gd name="connsiteY0" fmla="*/ 0 h 9449"/>
              <a:gd name="connsiteX1" fmla="*/ 758 w 10000"/>
              <a:gd name="connsiteY1" fmla="*/ 8173 h 9449"/>
              <a:gd name="connsiteX2" fmla="*/ 9610 w 10000"/>
              <a:gd name="connsiteY2" fmla="*/ 9449 h 9449"/>
              <a:gd name="connsiteX3" fmla="*/ 10000 w 10000"/>
              <a:gd name="connsiteY3" fmla="*/ 0 h 9449"/>
              <a:gd name="connsiteX4" fmla="*/ 0 w 10000"/>
              <a:gd name="connsiteY4" fmla="*/ 0 h 9449"/>
              <a:gd name="connsiteX0" fmla="*/ 0 w 10000"/>
              <a:gd name="connsiteY0" fmla="*/ 0 h 8650"/>
              <a:gd name="connsiteX1" fmla="*/ 758 w 10000"/>
              <a:gd name="connsiteY1" fmla="*/ 8650 h 8650"/>
              <a:gd name="connsiteX2" fmla="*/ 8602 w 10000"/>
              <a:gd name="connsiteY2" fmla="*/ 8106 h 8650"/>
              <a:gd name="connsiteX3" fmla="*/ 10000 w 10000"/>
              <a:gd name="connsiteY3" fmla="*/ 0 h 8650"/>
              <a:gd name="connsiteX4" fmla="*/ 0 w 10000"/>
              <a:gd name="connsiteY4" fmla="*/ 0 h 8650"/>
              <a:gd name="connsiteX0" fmla="*/ 0 w 10000"/>
              <a:gd name="connsiteY0" fmla="*/ 0 h 10191"/>
              <a:gd name="connsiteX1" fmla="*/ 758 w 10000"/>
              <a:gd name="connsiteY1" fmla="*/ 10000 h 10191"/>
              <a:gd name="connsiteX2" fmla="*/ 9599 w 10000"/>
              <a:gd name="connsiteY2" fmla="*/ 10191 h 10191"/>
              <a:gd name="connsiteX3" fmla="*/ 10000 w 10000"/>
              <a:gd name="connsiteY3" fmla="*/ 0 h 10191"/>
              <a:gd name="connsiteX4" fmla="*/ 0 w 10000"/>
              <a:gd name="connsiteY4" fmla="*/ 0 h 10191"/>
              <a:gd name="connsiteX0" fmla="*/ 0 w 10000"/>
              <a:gd name="connsiteY0" fmla="*/ 0 h 10750"/>
              <a:gd name="connsiteX1" fmla="*/ 422 w 10000"/>
              <a:gd name="connsiteY1" fmla="*/ 10750 h 10750"/>
              <a:gd name="connsiteX2" fmla="*/ 9599 w 10000"/>
              <a:gd name="connsiteY2" fmla="*/ 10191 h 10750"/>
              <a:gd name="connsiteX3" fmla="*/ 10000 w 10000"/>
              <a:gd name="connsiteY3" fmla="*/ 0 h 10750"/>
              <a:gd name="connsiteX4" fmla="*/ 0 w 10000"/>
              <a:gd name="connsiteY4" fmla="*/ 0 h 10750"/>
              <a:gd name="connsiteX0" fmla="*/ 0 w 10000"/>
              <a:gd name="connsiteY0" fmla="*/ 0 h 10750"/>
              <a:gd name="connsiteX1" fmla="*/ 422 w 10000"/>
              <a:gd name="connsiteY1" fmla="*/ 10750 h 10750"/>
              <a:gd name="connsiteX2" fmla="*/ 9599 w 10000"/>
              <a:gd name="connsiteY2" fmla="*/ 10191 h 10750"/>
              <a:gd name="connsiteX3" fmla="*/ 10000 w 10000"/>
              <a:gd name="connsiteY3" fmla="*/ 0 h 10750"/>
              <a:gd name="connsiteX4" fmla="*/ 0 w 10000"/>
              <a:gd name="connsiteY4" fmla="*/ 0 h 10750"/>
              <a:gd name="connsiteX0" fmla="*/ 0 w 10000"/>
              <a:gd name="connsiteY0" fmla="*/ 0 h 10206"/>
              <a:gd name="connsiteX1" fmla="*/ 326 w 10000"/>
              <a:gd name="connsiteY1" fmla="*/ 9027 h 10206"/>
              <a:gd name="connsiteX2" fmla="*/ 9599 w 10000"/>
              <a:gd name="connsiteY2" fmla="*/ 10191 h 10206"/>
              <a:gd name="connsiteX3" fmla="*/ 10000 w 10000"/>
              <a:gd name="connsiteY3" fmla="*/ 0 h 10206"/>
              <a:gd name="connsiteX4" fmla="*/ 0 w 10000"/>
              <a:gd name="connsiteY4" fmla="*/ 0 h 10206"/>
              <a:gd name="connsiteX0" fmla="*/ 0 w 10000"/>
              <a:gd name="connsiteY0" fmla="*/ 0 h 9027"/>
              <a:gd name="connsiteX1" fmla="*/ 326 w 10000"/>
              <a:gd name="connsiteY1" fmla="*/ 9027 h 9027"/>
              <a:gd name="connsiteX2" fmla="*/ 9471 w 10000"/>
              <a:gd name="connsiteY2" fmla="*/ 7396 h 9027"/>
              <a:gd name="connsiteX3" fmla="*/ 10000 w 10000"/>
              <a:gd name="connsiteY3" fmla="*/ 0 h 9027"/>
              <a:gd name="connsiteX4" fmla="*/ 0 w 10000"/>
              <a:gd name="connsiteY4" fmla="*/ 0 h 9027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586 w 10000"/>
              <a:gd name="connsiteY2" fmla="*/ 9044 h 10358"/>
              <a:gd name="connsiteX3" fmla="*/ 10000 w 10000"/>
              <a:gd name="connsiteY3" fmla="*/ 0 h 10358"/>
              <a:gd name="connsiteX4" fmla="*/ 0 w 10000"/>
              <a:gd name="connsiteY4" fmla="*/ 0 h 10358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609 w 10000"/>
              <a:gd name="connsiteY2" fmla="*/ 9784 h 10358"/>
              <a:gd name="connsiteX3" fmla="*/ 10000 w 10000"/>
              <a:gd name="connsiteY3" fmla="*/ 0 h 10358"/>
              <a:gd name="connsiteX4" fmla="*/ 0 w 10000"/>
              <a:gd name="connsiteY4" fmla="*/ 0 h 10358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609 w 10000"/>
              <a:gd name="connsiteY2" fmla="*/ 9784 h 10358"/>
              <a:gd name="connsiteX3" fmla="*/ 10000 w 10000"/>
              <a:gd name="connsiteY3" fmla="*/ 0 h 10358"/>
              <a:gd name="connsiteX4" fmla="*/ 0 w 10000"/>
              <a:gd name="connsiteY4" fmla="*/ 0 h 10358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609 w 10000"/>
              <a:gd name="connsiteY2" fmla="*/ 9784 h 10358"/>
              <a:gd name="connsiteX3" fmla="*/ 10000 w 10000"/>
              <a:gd name="connsiteY3" fmla="*/ 0 h 10358"/>
              <a:gd name="connsiteX4" fmla="*/ 0 w 10000"/>
              <a:gd name="connsiteY4" fmla="*/ 0 h 1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358">
                <a:moveTo>
                  <a:pt x="0" y="0"/>
                </a:moveTo>
                <a:cubicBezTo>
                  <a:pt x="139" y="3453"/>
                  <a:pt x="279" y="6905"/>
                  <a:pt x="418" y="10358"/>
                </a:cubicBezTo>
                <a:lnTo>
                  <a:pt x="9609" y="9784"/>
                </a:lnTo>
                <a:cubicBezTo>
                  <a:pt x="9739" y="6523"/>
                  <a:pt x="9870" y="3261"/>
                  <a:pt x="1000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5520" y="1143115"/>
            <a:ext cx="8159749" cy="509688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502147-0FBB-4BAE-8E11-C987157166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A56881B-40BE-437D-B32B-E367827F01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5884" y="1997307"/>
            <a:ext cx="8159749" cy="3717579"/>
          </a:xfrm>
        </p:spPr>
        <p:txBody>
          <a:bodyPr/>
          <a:lstStyle>
            <a:lvl1pPr marL="355591" indent="-355591" defTabSz="1198003">
              <a:buNone/>
              <a:tabLst>
                <a:tab pos="355591" algn="l"/>
                <a:tab pos="8157429" algn="r"/>
              </a:tabLst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72752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D665BC53-75ED-4DBA-8B20-B4665E661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2DC0918-2FC2-4746-A070-59E502DE378C}"/>
              </a:ext>
            </a:extLst>
          </p:cNvPr>
          <p:cNvSpPr>
            <a:spLocks/>
          </p:cNvSpPr>
          <p:nvPr userDrawn="1"/>
        </p:nvSpPr>
        <p:spPr bwMode="auto">
          <a:xfrm>
            <a:off x="568670" y="575302"/>
            <a:ext cx="11047597" cy="5688169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  <a:gd name="connsiteX0" fmla="*/ 0 w 10000"/>
              <a:gd name="connsiteY0" fmla="*/ 0 h 9449"/>
              <a:gd name="connsiteX1" fmla="*/ 758 w 10000"/>
              <a:gd name="connsiteY1" fmla="*/ 8173 h 9449"/>
              <a:gd name="connsiteX2" fmla="*/ 9610 w 10000"/>
              <a:gd name="connsiteY2" fmla="*/ 9449 h 9449"/>
              <a:gd name="connsiteX3" fmla="*/ 10000 w 10000"/>
              <a:gd name="connsiteY3" fmla="*/ 0 h 9449"/>
              <a:gd name="connsiteX4" fmla="*/ 0 w 10000"/>
              <a:gd name="connsiteY4" fmla="*/ 0 h 9449"/>
              <a:gd name="connsiteX0" fmla="*/ 0 w 10000"/>
              <a:gd name="connsiteY0" fmla="*/ 0 h 8650"/>
              <a:gd name="connsiteX1" fmla="*/ 758 w 10000"/>
              <a:gd name="connsiteY1" fmla="*/ 8650 h 8650"/>
              <a:gd name="connsiteX2" fmla="*/ 8602 w 10000"/>
              <a:gd name="connsiteY2" fmla="*/ 8106 h 8650"/>
              <a:gd name="connsiteX3" fmla="*/ 10000 w 10000"/>
              <a:gd name="connsiteY3" fmla="*/ 0 h 8650"/>
              <a:gd name="connsiteX4" fmla="*/ 0 w 10000"/>
              <a:gd name="connsiteY4" fmla="*/ 0 h 8650"/>
              <a:gd name="connsiteX0" fmla="*/ 0 w 10000"/>
              <a:gd name="connsiteY0" fmla="*/ 0 h 10191"/>
              <a:gd name="connsiteX1" fmla="*/ 758 w 10000"/>
              <a:gd name="connsiteY1" fmla="*/ 10000 h 10191"/>
              <a:gd name="connsiteX2" fmla="*/ 9599 w 10000"/>
              <a:gd name="connsiteY2" fmla="*/ 10191 h 10191"/>
              <a:gd name="connsiteX3" fmla="*/ 10000 w 10000"/>
              <a:gd name="connsiteY3" fmla="*/ 0 h 10191"/>
              <a:gd name="connsiteX4" fmla="*/ 0 w 10000"/>
              <a:gd name="connsiteY4" fmla="*/ 0 h 10191"/>
              <a:gd name="connsiteX0" fmla="*/ 0 w 10000"/>
              <a:gd name="connsiteY0" fmla="*/ 0 h 10750"/>
              <a:gd name="connsiteX1" fmla="*/ 422 w 10000"/>
              <a:gd name="connsiteY1" fmla="*/ 10750 h 10750"/>
              <a:gd name="connsiteX2" fmla="*/ 9599 w 10000"/>
              <a:gd name="connsiteY2" fmla="*/ 10191 h 10750"/>
              <a:gd name="connsiteX3" fmla="*/ 10000 w 10000"/>
              <a:gd name="connsiteY3" fmla="*/ 0 h 10750"/>
              <a:gd name="connsiteX4" fmla="*/ 0 w 10000"/>
              <a:gd name="connsiteY4" fmla="*/ 0 h 10750"/>
              <a:gd name="connsiteX0" fmla="*/ 0 w 10000"/>
              <a:gd name="connsiteY0" fmla="*/ 0 h 10750"/>
              <a:gd name="connsiteX1" fmla="*/ 422 w 10000"/>
              <a:gd name="connsiteY1" fmla="*/ 10750 h 10750"/>
              <a:gd name="connsiteX2" fmla="*/ 9599 w 10000"/>
              <a:gd name="connsiteY2" fmla="*/ 10191 h 10750"/>
              <a:gd name="connsiteX3" fmla="*/ 10000 w 10000"/>
              <a:gd name="connsiteY3" fmla="*/ 0 h 10750"/>
              <a:gd name="connsiteX4" fmla="*/ 0 w 10000"/>
              <a:gd name="connsiteY4" fmla="*/ 0 h 10750"/>
              <a:gd name="connsiteX0" fmla="*/ 0 w 10000"/>
              <a:gd name="connsiteY0" fmla="*/ 0 h 10206"/>
              <a:gd name="connsiteX1" fmla="*/ 326 w 10000"/>
              <a:gd name="connsiteY1" fmla="*/ 9027 h 10206"/>
              <a:gd name="connsiteX2" fmla="*/ 9599 w 10000"/>
              <a:gd name="connsiteY2" fmla="*/ 10191 h 10206"/>
              <a:gd name="connsiteX3" fmla="*/ 10000 w 10000"/>
              <a:gd name="connsiteY3" fmla="*/ 0 h 10206"/>
              <a:gd name="connsiteX4" fmla="*/ 0 w 10000"/>
              <a:gd name="connsiteY4" fmla="*/ 0 h 10206"/>
              <a:gd name="connsiteX0" fmla="*/ 0 w 10000"/>
              <a:gd name="connsiteY0" fmla="*/ 0 h 9027"/>
              <a:gd name="connsiteX1" fmla="*/ 326 w 10000"/>
              <a:gd name="connsiteY1" fmla="*/ 9027 h 9027"/>
              <a:gd name="connsiteX2" fmla="*/ 9471 w 10000"/>
              <a:gd name="connsiteY2" fmla="*/ 7396 h 9027"/>
              <a:gd name="connsiteX3" fmla="*/ 10000 w 10000"/>
              <a:gd name="connsiteY3" fmla="*/ 0 h 9027"/>
              <a:gd name="connsiteX4" fmla="*/ 0 w 10000"/>
              <a:gd name="connsiteY4" fmla="*/ 0 h 9027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586 w 10000"/>
              <a:gd name="connsiteY2" fmla="*/ 9044 h 10358"/>
              <a:gd name="connsiteX3" fmla="*/ 10000 w 10000"/>
              <a:gd name="connsiteY3" fmla="*/ 0 h 10358"/>
              <a:gd name="connsiteX4" fmla="*/ 0 w 10000"/>
              <a:gd name="connsiteY4" fmla="*/ 0 h 10358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609 w 10000"/>
              <a:gd name="connsiteY2" fmla="*/ 9784 h 10358"/>
              <a:gd name="connsiteX3" fmla="*/ 10000 w 10000"/>
              <a:gd name="connsiteY3" fmla="*/ 0 h 10358"/>
              <a:gd name="connsiteX4" fmla="*/ 0 w 10000"/>
              <a:gd name="connsiteY4" fmla="*/ 0 h 10358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609 w 10000"/>
              <a:gd name="connsiteY2" fmla="*/ 9784 h 10358"/>
              <a:gd name="connsiteX3" fmla="*/ 10000 w 10000"/>
              <a:gd name="connsiteY3" fmla="*/ 0 h 10358"/>
              <a:gd name="connsiteX4" fmla="*/ 0 w 10000"/>
              <a:gd name="connsiteY4" fmla="*/ 0 h 10358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609 w 10000"/>
              <a:gd name="connsiteY2" fmla="*/ 9784 h 10358"/>
              <a:gd name="connsiteX3" fmla="*/ 10000 w 10000"/>
              <a:gd name="connsiteY3" fmla="*/ 0 h 10358"/>
              <a:gd name="connsiteX4" fmla="*/ 0 w 10000"/>
              <a:gd name="connsiteY4" fmla="*/ 0 h 1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358">
                <a:moveTo>
                  <a:pt x="0" y="0"/>
                </a:moveTo>
                <a:cubicBezTo>
                  <a:pt x="139" y="3453"/>
                  <a:pt x="279" y="6905"/>
                  <a:pt x="418" y="10358"/>
                </a:cubicBezTo>
                <a:lnTo>
                  <a:pt x="9609" y="9784"/>
                </a:lnTo>
                <a:cubicBezTo>
                  <a:pt x="9739" y="6523"/>
                  <a:pt x="9870" y="3261"/>
                  <a:pt x="1000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5520" y="1143115"/>
            <a:ext cx="8160113" cy="509688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502147-0FBB-4BAE-8E11-C987157166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A56881B-40BE-437D-B32B-E367827F01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5885" y="1997307"/>
            <a:ext cx="3456020" cy="3717579"/>
          </a:xfrm>
        </p:spPr>
        <p:txBody>
          <a:bodyPr/>
          <a:lstStyle>
            <a:lvl1pPr marL="355591" indent="-355591" defTabSz="1198003">
              <a:buNone/>
              <a:tabLst>
                <a:tab pos="355591" algn="l"/>
                <a:tab pos="3464897" algn="r"/>
              </a:tabLst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8A474B7D-1513-41F2-AD50-C0037FD0C8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614" y="1997307"/>
            <a:ext cx="3456020" cy="3717579"/>
          </a:xfrm>
        </p:spPr>
        <p:txBody>
          <a:bodyPr/>
          <a:lstStyle>
            <a:lvl1pPr marL="355591" indent="-355591" defTabSz="1198003">
              <a:buNone/>
              <a:tabLst>
                <a:tab pos="355591" algn="l"/>
                <a:tab pos="3464897" algn="r"/>
              </a:tabLst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26800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D665BC53-75ED-4DBA-8B20-B4665E661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2DC0918-2FC2-4746-A070-59E502DE378C}"/>
              </a:ext>
            </a:extLst>
          </p:cNvPr>
          <p:cNvSpPr>
            <a:spLocks/>
          </p:cNvSpPr>
          <p:nvPr userDrawn="1"/>
        </p:nvSpPr>
        <p:spPr bwMode="auto">
          <a:xfrm>
            <a:off x="568670" y="575302"/>
            <a:ext cx="11047597" cy="5688169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  <a:gd name="connsiteX0" fmla="*/ 0 w 10000"/>
              <a:gd name="connsiteY0" fmla="*/ 0 h 9449"/>
              <a:gd name="connsiteX1" fmla="*/ 758 w 10000"/>
              <a:gd name="connsiteY1" fmla="*/ 8173 h 9449"/>
              <a:gd name="connsiteX2" fmla="*/ 9610 w 10000"/>
              <a:gd name="connsiteY2" fmla="*/ 9449 h 9449"/>
              <a:gd name="connsiteX3" fmla="*/ 10000 w 10000"/>
              <a:gd name="connsiteY3" fmla="*/ 0 h 9449"/>
              <a:gd name="connsiteX4" fmla="*/ 0 w 10000"/>
              <a:gd name="connsiteY4" fmla="*/ 0 h 9449"/>
              <a:gd name="connsiteX0" fmla="*/ 0 w 10000"/>
              <a:gd name="connsiteY0" fmla="*/ 0 h 8650"/>
              <a:gd name="connsiteX1" fmla="*/ 758 w 10000"/>
              <a:gd name="connsiteY1" fmla="*/ 8650 h 8650"/>
              <a:gd name="connsiteX2" fmla="*/ 8602 w 10000"/>
              <a:gd name="connsiteY2" fmla="*/ 8106 h 8650"/>
              <a:gd name="connsiteX3" fmla="*/ 10000 w 10000"/>
              <a:gd name="connsiteY3" fmla="*/ 0 h 8650"/>
              <a:gd name="connsiteX4" fmla="*/ 0 w 10000"/>
              <a:gd name="connsiteY4" fmla="*/ 0 h 8650"/>
              <a:gd name="connsiteX0" fmla="*/ 0 w 10000"/>
              <a:gd name="connsiteY0" fmla="*/ 0 h 10191"/>
              <a:gd name="connsiteX1" fmla="*/ 758 w 10000"/>
              <a:gd name="connsiteY1" fmla="*/ 10000 h 10191"/>
              <a:gd name="connsiteX2" fmla="*/ 9599 w 10000"/>
              <a:gd name="connsiteY2" fmla="*/ 10191 h 10191"/>
              <a:gd name="connsiteX3" fmla="*/ 10000 w 10000"/>
              <a:gd name="connsiteY3" fmla="*/ 0 h 10191"/>
              <a:gd name="connsiteX4" fmla="*/ 0 w 10000"/>
              <a:gd name="connsiteY4" fmla="*/ 0 h 10191"/>
              <a:gd name="connsiteX0" fmla="*/ 0 w 10000"/>
              <a:gd name="connsiteY0" fmla="*/ 0 h 10750"/>
              <a:gd name="connsiteX1" fmla="*/ 422 w 10000"/>
              <a:gd name="connsiteY1" fmla="*/ 10750 h 10750"/>
              <a:gd name="connsiteX2" fmla="*/ 9599 w 10000"/>
              <a:gd name="connsiteY2" fmla="*/ 10191 h 10750"/>
              <a:gd name="connsiteX3" fmla="*/ 10000 w 10000"/>
              <a:gd name="connsiteY3" fmla="*/ 0 h 10750"/>
              <a:gd name="connsiteX4" fmla="*/ 0 w 10000"/>
              <a:gd name="connsiteY4" fmla="*/ 0 h 10750"/>
              <a:gd name="connsiteX0" fmla="*/ 0 w 10000"/>
              <a:gd name="connsiteY0" fmla="*/ 0 h 10750"/>
              <a:gd name="connsiteX1" fmla="*/ 422 w 10000"/>
              <a:gd name="connsiteY1" fmla="*/ 10750 h 10750"/>
              <a:gd name="connsiteX2" fmla="*/ 9599 w 10000"/>
              <a:gd name="connsiteY2" fmla="*/ 10191 h 10750"/>
              <a:gd name="connsiteX3" fmla="*/ 10000 w 10000"/>
              <a:gd name="connsiteY3" fmla="*/ 0 h 10750"/>
              <a:gd name="connsiteX4" fmla="*/ 0 w 10000"/>
              <a:gd name="connsiteY4" fmla="*/ 0 h 10750"/>
              <a:gd name="connsiteX0" fmla="*/ 0 w 10000"/>
              <a:gd name="connsiteY0" fmla="*/ 0 h 10206"/>
              <a:gd name="connsiteX1" fmla="*/ 326 w 10000"/>
              <a:gd name="connsiteY1" fmla="*/ 9027 h 10206"/>
              <a:gd name="connsiteX2" fmla="*/ 9599 w 10000"/>
              <a:gd name="connsiteY2" fmla="*/ 10191 h 10206"/>
              <a:gd name="connsiteX3" fmla="*/ 10000 w 10000"/>
              <a:gd name="connsiteY3" fmla="*/ 0 h 10206"/>
              <a:gd name="connsiteX4" fmla="*/ 0 w 10000"/>
              <a:gd name="connsiteY4" fmla="*/ 0 h 10206"/>
              <a:gd name="connsiteX0" fmla="*/ 0 w 10000"/>
              <a:gd name="connsiteY0" fmla="*/ 0 h 9027"/>
              <a:gd name="connsiteX1" fmla="*/ 326 w 10000"/>
              <a:gd name="connsiteY1" fmla="*/ 9027 h 9027"/>
              <a:gd name="connsiteX2" fmla="*/ 9471 w 10000"/>
              <a:gd name="connsiteY2" fmla="*/ 7396 h 9027"/>
              <a:gd name="connsiteX3" fmla="*/ 10000 w 10000"/>
              <a:gd name="connsiteY3" fmla="*/ 0 h 9027"/>
              <a:gd name="connsiteX4" fmla="*/ 0 w 10000"/>
              <a:gd name="connsiteY4" fmla="*/ 0 h 9027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586 w 10000"/>
              <a:gd name="connsiteY2" fmla="*/ 9044 h 10358"/>
              <a:gd name="connsiteX3" fmla="*/ 10000 w 10000"/>
              <a:gd name="connsiteY3" fmla="*/ 0 h 10358"/>
              <a:gd name="connsiteX4" fmla="*/ 0 w 10000"/>
              <a:gd name="connsiteY4" fmla="*/ 0 h 10358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609 w 10000"/>
              <a:gd name="connsiteY2" fmla="*/ 9784 h 10358"/>
              <a:gd name="connsiteX3" fmla="*/ 10000 w 10000"/>
              <a:gd name="connsiteY3" fmla="*/ 0 h 10358"/>
              <a:gd name="connsiteX4" fmla="*/ 0 w 10000"/>
              <a:gd name="connsiteY4" fmla="*/ 0 h 10358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609 w 10000"/>
              <a:gd name="connsiteY2" fmla="*/ 9784 h 10358"/>
              <a:gd name="connsiteX3" fmla="*/ 10000 w 10000"/>
              <a:gd name="connsiteY3" fmla="*/ 0 h 10358"/>
              <a:gd name="connsiteX4" fmla="*/ 0 w 10000"/>
              <a:gd name="connsiteY4" fmla="*/ 0 h 10358"/>
              <a:gd name="connsiteX0" fmla="*/ 0 w 10000"/>
              <a:gd name="connsiteY0" fmla="*/ 0 h 10358"/>
              <a:gd name="connsiteX1" fmla="*/ 418 w 10000"/>
              <a:gd name="connsiteY1" fmla="*/ 10358 h 10358"/>
              <a:gd name="connsiteX2" fmla="*/ 9609 w 10000"/>
              <a:gd name="connsiteY2" fmla="*/ 9784 h 10358"/>
              <a:gd name="connsiteX3" fmla="*/ 10000 w 10000"/>
              <a:gd name="connsiteY3" fmla="*/ 0 h 10358"/>
              <a:gd name="connsiteX4" fmla="*/ 0 w 10000"/>
              <a:gd name="connsiteY4" fmla="*/ 0 h 1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358">
                <a:moveTo>
                  <a:pt x="0" y="0"/>
                </a:moveTo>
                <a:cubicBezTo>
                  <a:pt x="139" y="3453"/>
                  <a:pt x="279" y="6905"/>
                  <a:pt x="418" y="10358"/>
                </a:cubicBezTo>
                <a:lnTo>
                  <a:pt x="9609" y="9784"/>
                </a:lnTo>
                <a:cubicBezTo>
                  <a:pt x="9739" y="6523"/>
                  <a:pt x="9870" y="3261"/>
                  <a:pt x="1000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20970" y="999099"/>
            <a:ext cx="8814663" cy="510085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502147-0FBB-4BAE-8E11-C9871571664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865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BF7B0546-EF62-4714-AAAD-A2FE9E5F30B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58986" y="597428"/>
            <a:ext cx="5550313" cy="3734627"/>
          </a:xfrm>
          <a:custGeom>
            <a:avLst/>
            <a:gdLst>
              <a:gd name="connsiteX0" fmla="*/ 0 w 4162735"/>
              <a:gd name="connsiteY0" fmla="*/ 0 h 2804145"/>
              <a:gd name="connsiteX1" fmla="*/ 4162735 w 4162735"/>
              <a:gd name="connsiteY1" fmla="*/ 0 h 2804145"/>
              <a:gd name="connsiteX2" fmla="*/ 4162735 w 4162735"/>
              <a:gd name="connsiteY2" fmla="*/ 2804145 h 2804145"/>
              <a:gd name="connsiteX3" fmla="*/ 0 w 4162735"/>
              <a:gd name="connsiteY3" fmla="*/ 2804145 h 2804145"/>
              <a:gd name="connsiteX4" fmla="*/ 0 w 4162735"/>
              <a:gd name="connsiteY4" fmla="*/ 0 h 2804145"/>
              <a:gd name="connsiteX0" fmla="*/ 0 w 4162735"/>
              <a:gd name="connsiteY0" fmla="*/ 0 h 2804145"/>
              <a:gd name="connsiteX1" fmla="*/ 4162735 w 4162735"/>
              <a:gd name="connsiteY1" fmla="*/ 0 h 2804145"/>
              <a:gd name="connsiteX2" fmla="*/ 4162735 w 4162735"/>
              <a:gd name="connsiteY2" fmla="*/ 2804145 h 2804145"/>
              <a:gd name="connsiteX3" fmla="*/ 171450 w 4162735"/>
              <a:gd name="connsiteY3" fmla="*/ 2800970 h 2804145"/>
              <a:gd name="connsiteX4" fmla="*/ 0 w 4162735"/>
              <a:gd name="connsiteY4" fmla="*/ 0 h 2804145"/>
              <a:gd name="connsiteX0" fmla="*/ 0 w 4162735"/>
              <a:gd name="connsiteY0" fmla="*/ 0 h 2800970"/>
              <a:gd name="connsiteX1" fmla="*/ 4162735 w 4162735"/>
              <a:gd name="connsiteY1" fmla="*/ 0 h 2800970"/>
              <a:gd name="connsiteX2" fmla="*/ 3988110 w 4162735"/>
              <a:gd name="connsiteY2" fmla="*/ 2645395 h 2800970"/>
              <a:gd name="connsiteX3" fmla="*/ 171450 w 4162735"/>
              <a:gd name="connsiteY3" fmla="*/ 2800970 h 2800970"/>
              <a:gd name="connsiteX4" fmla="*/ 0 w 4162735"/>
              <a:gd name="connsiteY4" fmla="*/ 0 h 280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2735" h="2800970">
                <a:moveTo>
                  <a:pt x="0" y="0"/>
                </a:moveTo>
                <a:lnTo>
                  <a:pt x="4162735" y="0"/>
                </a:lnTo>
                <a:lnTo>
                  <a:pt x="3988110" y="2645395"/>
                </a:lnTo>
                <a:lnTo>
                  <a:pt x="171450" y="280097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  <a:tileRect/>
          </a:gradFill>
        </p:spPr>
        <p:txBody>
          <a:bodyPr lIns="576000" tIns="414000" rIns="144000" anchor="t"/>
          <a:lstStyle>
            <a:lvl1pPr>
              <a:lnSpc>
                <a:spcPct val="88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27416" y="3179561"/>
            <a:ext cx="2425323" cy="826528"/>
          </a:xfrm>
        </p:spPr>
        <p:txBody>
          <a:bodyPr anchor="b"/>
          <a:lstStyle>
            <a:lvl1pPr marL="0" indent="0" algn="l">
              <a:lnSpc>
                <a:spcPct val="105000"/>
              </a:lnSpc>
              <a:buNone/>
              <a:defRPr sz="1333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Department</a:t>
            </a:r>
            <a:br>
              <a:rPr lang="en-US" noProof="0" dirty="0"/>
            </a:br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2A3B7D-BC91-4E4C-AB49-6F7780F48F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7416" y="2880023"/>
            <a:ext cx="4537557" cy="226384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99DB352-3444-46ED-9488-DA5A1431A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92613" y="3179560"/>
            <a:ext cx="3024000" cy="1689600"/>
          </a:xfrm>
          <a:blipFill rotWithShape="1"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533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19927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 marL="476239" indent="-234945">
              <a:buFont typeface="Symbol" panose="05050102010706020507" pitchFamily="18" charset="2"/>
              <a:buChar char="-"/>
              <a:defRPr/>
            </a:lvl2pPr>
            <a:lvl3pPr marL="715415" indent="-239178">
              <a:buFont typeface="Symbol" panose="05050102010706020507" pitchFamily="18" charset="2"/>
              <a:buChar char="-"/>
              <a:defRPr/>
            </a:lvl3pPr>
            <a:lvl4pPr marL="956709" indent="-241294">
              <a:buFont typeface="Symbol" panose="05050102010706020507" pitchFamily="18" charset="2"/>
              <a:buChar char="-"/>
              <a:defRPr/>
            </a:lvl4pPr>
            <a:lvl5pPr marL="1198003" indent="-241294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89D3BE-0F2B-4768-95A5-C06D46B6D4FB}" type="datetime1">
              <a:rPr lang="en-US" noProof="0" smtClean="0"/>
              <a:t>6/6/2019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4F8ADC08-F725-CF4F-886F-06163C6EC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041059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933978-4008-4F2C-9263-B79F277FF42F}" type="datetime1">
              <a:rPr lang="en-US" noProof="0" smtClean="0"/>
              <a:t>6/6/2019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5CDEF91-ADB7-4C9F-B188-AFF41ED904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5735" y="1509185"/>
            <a:ext cx="11040533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F474A6-F542-A74B-AC0F-75E79DBE8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49616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5734" y="1460465"/>
            <a:ext cx="3551767" cy="4800635"/>
          </a:xfrm>
        </p:spPr>
        <p:txBody>
          <a:bodyPr/>
          <a:lstStyle>
            <a:lvl2pPr marL="476239" indent="-234945">
              <a:buFont typeface="Symbol" panose="05050102010706020507" pitchFamily="18" charset="2"/>
              <a:buChar char="-"/>
              <a:defRPr/>
            </a:lvl2pPr>
            <a:lvl3pPr marL="715415" indent="-239178">
              <a:buFont typeface="Symbol" panose="05050102010706020507" pitchFamily="18" charset="2"/>
              <a:buChar char="-"/>
              <a:defRPr/>
            </a:lvl3pPr>
            <a:lvl4pPr marL="956709" indent="-241294">
              <a:buFont typeface="Symbol" panose="05050102010706020507" pitchFamily="18" charset="2"/>
              <a:buChar char="-"/>
              <a:defRPr/>
            </a:lvl4pPr>
            <a:lvl5pPr marL="1198003" indent="-241294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FA4015-E2F7-4E47-A860-5791FE1D981C}" type="datetime1">
              <a:rPr lang="en-US" noProof="0" smtClean="0"/>
              <a:t>6/6/2019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5CDEF91-ADB7-4C9F-B188-AFF41ED904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20117" y="1509185"/>
            <a:ext cx="7296149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83C461DB-98BD-4D83-BB8F-E08BFFDDB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77691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ed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5735" y="1460465"/>
            <a:ext cx="5425016" cy="4800635"/>
          </a:xfrm>
        </p:spPr>
        <p:txBody>
          <a:bodyPr/>
          <a:lstStyle>
            <a:lvl2pPr marL="476239" indent="-234945">
              <a:buFont typeface="Symbol" panose="05050102010706020507" pitchFamily="18" charset="2"/>
              <a:buChar char="-"/>
              <a:defRPr/>
            </a:lvl2pPr>
            <a:lvl3pPr marL="715415" indent="-239178">
              <a:buFont typeface="Symbol" panose="05050102010706020507" pitchFamily="18" charset="2"/>
              <a:buChar char="-"/>
              <a:defRPr/>
            </a:lvl3pPr>
            <a:lvl4pPr marL="956709" indent="-241294">
              <a:buFont typeface="Symbol" panose="05050102010706020507" pitchFamily="18" charset="2"/>
              <a:buChar char="-"/>
              <a:defRPr/>
            </a:lvl4pPr>
            <a:lvl5pPr marL="1198003" indent="-241294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57A48-4553-4408-ACDB-66A71547101F}" type="datetime1">
              <a:rPr lang="en-US" noProof="0" smtClean="0"/>
              <a:t>6/6/2019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5CDEF91-ADB7-4C9F-B188-AFF41ED904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1252" y="0"/>
            <a:ext cx="5999160" cy="6858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83C461DB-98BD-4D83-BB8F-E08BFFDDB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732" y="439968"/>
            <a:ext cx="5425019" cy="78078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74986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5734" y="1460465"/>
            <a:ext cx="3551767" cy="4800635"/>
          </a:xfrm>
        </p:spPr>
        <p:txBody>
          <a:bodyPr/>
          <a:lstStyle>
            <a:lvl2pPr marL="476239" indent="-234945">
              <a:buFont typeface="Symbol" panose="05050102010706020507" pitchFamily="18" charset="2"/>
              <a:buChar char="-"/>
              <a:defRPr/>
            </a:lvl2pPr>
            <a:lvl3pPr marL="715415" indent="-239178">
              <a:buFont typeface="Symbol" panose="05050102010706020507" pitchFamily="18" charset="2"/>
              <a:buChar char="-"/>
              <a:defRPr/>
            </a:lvl3pPr>
            <a:lvl4pPr marL="956709" indent="-241294">
              <a:buFont typeface="Symbol" panose="05050102010706020507" pitchFamily="18" charset="2"/>
              <a:buChar char="-"/>
              <a:defRPr/>
            </a:lvl4pPr>
            <a:lvl5pPr marL="1198003" indent="-241294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CAF17-E0CA-4C44-8D63-A635EF2734FF}" type="datetime1">
              <a:rPr lang="en-US" noProof="0" smtClean="0"/>
              <a:t>6/6/2019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5CDEF91-ADB7-4C9F-B188-AFF41ED904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20119" y="1509185"/>
            <a:ext cx="3551767" cy="3615867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2B7D4F70-4F93-4518-94B6-BA21E77D0F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64501" y="1509185"/>
            <a:ext cx="3551767" cy="3615867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FE770FE-0D45-4F89-BA89-216D53815D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120" y="5221279"/>
            <a:ext cx="3551765" cy="1039820"/>
          </a:xfrm>
        </p:spPr>
        <p:txBody>
          <a:bodyPr/>
          <a:lstStyle>
            <a:lvl1pPr marL="0" indent="0">
              <a:buNone/>
              <a:defRPr sz="1333"/>
            </a:lvl1pPr>
          </a:lstStyle>
          <a:p>
            <a:pPr lvl="0"/>
            <a:r>
              <a:rPr lang="en-US" noProof="0" dirty="0"/>
              <a:t>Caption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052BEFBD-DE29-490A-ACF4-FC258D8DD0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4501" y="5221280"/>
            <a:ext cx="3551767" cy="1039819"/>
          </a:xfrm>
        </p:spPr>
        <p:txBody>
          <a:bodyPr/>
          <a:lstStyle>
            <a:lvl1pPr marL="0" indent="0">
              <a:buNone/>
              <a:defRPr sz="1333"/>
            </a:lvl1pPr>
          </a:lstStyle>
          <a:p>
            <a:pPr lvl="0"/>
            <a:r>
              <a:rPr lang="en-US" noProof="0" dirty="0"/>
              <a:t>Captio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7A2BBAF-E31C-446E-A86C-0227D809C7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696159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5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5734" y="1460466"/>
            <a:ext cx="11040533" cy="1664421"/>
          </a:xfrm>
        </p:spPr>
        <p:txBody>
          <a:bodyPr/>
          <a:lstStyle>
            <a:lvl2pPr marL="476239" indent="-234945">
              <a:buFont typeface="Symbol" panose="05050102010706020507" pitchFamily="18" charset="2"/>
              <a:buChar char="-"/>
              <a:defRPr/>
            </a:lvl2pPr>
            <a:lvl3pPr marL="715415" indent="-239178">
              <a:buFont typeface="Symbol" panose="05050102010706020507" pitchFamily="18" charset="2"/>
              <a:buChar char="-"/>
              <a:defRPr/>
            </a:lvl3pPr>
            <a:lvl4pPr marL="956709" indent="-241294">
              <a:buFont typeface="Symbol" panose="05050102010706020507" pitchFamily="18" charset="2"/>
              <a:buChar char="-"/>
              <a:defRPr/>
            </a:lvl4pPr>
            <a:lvl5pPr marL="1198003" indent="-241294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FB39B-9AD3-44B5-B0DD-714DC029BC71}" type="datetime1">
              <a:rPr lang="en-US" noProof="0" smtClean="0"/>
              <a:t>6/6/2019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5CDEF91-ADB7-4C9F-B188-AFF41ED904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1499" y="3284984"/>
            <a:ext cx="2054400" cy="182420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FE770FE-0D45-4F89-BA89-216D53815D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1499" y="5269285"/>
            <a:ext cx="2054400" cy="991815"/>
          </a:xfrm>
        </p:spPr>
        <p:txBody>
          <a:bodyPr/>
          <a:lstStyle>
            <a:lvl1pPr marL="0" indent="0">
              <a:buNone/>
              <a:defRPr sz="1333"/>
            </a:lvl1pPr>
          </a:lstStyle>
          <a:p>
            <a:pPr lvl="0"/>
            <a:r>
              <a:rPr lang="en-US" noProof="0"/>
              <a:t>Caption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3A7D960-0507-4DC0-BDC9-1EC2673A37D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19091" y="3284984"/>
            <a:ext cx="2054400" cy="182420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05325553-B62C-4C8F-A62E-A848EF10B6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19091" y="5269285"/>
            <a:ext cx="2054400" cy="991815"/>
          </a:xfrm>
        </p:spPr>
        <p:txBody>
          <a:bodyPr/>
          <a:lstStyle>
            <a:lvl1pPr marL="0" indent="0">
              <a:buNone/>
              <a:defRPr sz="1333"/>
            </a:lvl1pPr>
          </a:lstStyle>
          <a:p>
            <a:pPr lvl="0"/>
            <a:r>
              <a:rPr lang="en-US" noProof="0"/>
              <a:t>Caption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904F7AEE-DF27-4E13-A0B0-AFF9D47CE1E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66683" y="3284984"/>
            <a:ext cx="2054400" cy="182420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5C2B183D-FDE4-4986-AB6D-B715876E64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6683" y="5269285"/>
            <a:ext cx="2054400" cy="991815"/>
          </a:xfrm>
        </p:spPr>
        <p:txBody>
          <a:bodyPr/>
          <a:lstStyle>
            <a:lvl1pPr marL="0" indent="0">
              <a:buNone/>
              <a:defRPr sz="1333"/>
            </a:lvl1pPr>
          </a:lstStyle>
          <a:p>
            <a:pPr lvl="0"/>
            <a:r>
              <a:rPr lang="en-US" noProof="0"/>
              <a:t>Caption</a:t>
            </a:r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E4B0D6C8-8F51-490C-ACAD-5FEB1F003C2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314275" y="3284984"/>
            <a:ext cx="2054400" cy="182420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06EC2AF6-A325-4456-9683-CBADE05DBC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14275" y="5269285"/>
            <a:ext cx="2054400" cy="991815"/>
          </a:xfrm>
        </p:spPr>
        <p:txBody>
          <a:bodyPr/>
          <a:lstStyle>
            <a:lvl1pPr marL="0" indent="0">
              <a:buNone/>
              <a:defRPr sz="1333"/>
            </a:lvl1pPr>
          </a:lstStyle>
          <a:p>
            <a:pPr lvl="0"/>
            <a:r>
              <a:rPr lang="en-US" noProof="0"/>
              <a:t>Caption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98D7A575-9E6F-486E-93E5-3E3F98687D5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561867" y="3284984"/>
            <a:ext cx="2054400" cy="182420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D6DED4D8-23F4-4DFA-B6B8-E2B9CD96C26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561867" y="5269285"/>
            <a:ext cx="2054400" cy="991815"/>
          </a:xfrm>
        </p:spPr>
        <p:txBody>
          <a:bodyPr/>
          <a:lstStyle>
            <a:lvl1pPr marL="0" indent="0">
              <a:buNone/>
              <a:defRPr sz="1333"/>
            </a:lvl1pPr>
          </a:lstStyle>
          <a:p>
            <a:pPr lvl="0"/>
            <a:r>
              <a:rPr lang="en-US" noProof="0"/>
              <a:t>Captio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C8E4188-D4D5-43AF-9B09-FD3F7502E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132903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5CDEF91-ADB7-4C9F-B188-AFF41ED904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33" y="537029"/>
            <a:ext cx="4298951" cy="972156"/>
          </a:xfrm>
        </p:spPr>
        <p:txBody>
          <a:bodyPr/>
          <a:lstStyle>
            <a:lvl1pPr>
              <a:defRPr sz="1333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22E51-CE3E-41D4-B0B9-862C548D51EB}" type="datetime1">
              <a:rPr lang="en-US" noProof="0" smtClean="0"/>
              <a:t>6/6/2019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55256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App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5734" y="1460465"/>
            <a:ext cx="5425017" cy="4800635"/>
          </a:xfrm>
        </p:spPr>
        <p:txBody>
          <a:bodyPr/>
          <a:lstStyle>
            <a:lvl2pPr marL="476239" indent="-234945">
              <a:buFont typeface="Symbol" panose="05050102010706020507" pitchFamily="18" charset="2"/>
              <a:buChar char="-"/>
              <a:defRPr/>
            </a:lvl2pPr>
            <a:lvl3pPr marL="715415" indent="-239178">
              <a:buFont typeface="Symbol" panose="05050102010706020507" pitchFamily="18" charset="2"/>
              <a:buChar char="-"/>
              <a:defRPr/>
            </a:lvl3pPr>
            <a:lvl4pPr marL="956709" indent="-241294">
              <a:buFont typeface="Symbol" panose="05050102010706020507" pitchFamily="18" charset="2"/>
              <a:buChar char="-"/>
              <a:defRPr/>
            </a:lvl4pPr>
            <a:lvl5pPr marL="1198003" indent="-241294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A5351-8367-4C5A-A5C4-3FEE7AC8BF4C}" type="datetime1">
              <a:rPr lang="en-US" noProof="0" smtClean="0"/>
              <a:t>6/6/2019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90398E2-F531-4772-9389-4D063775DA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125" y="1748813"/>
            <a:ext cx="2200228" cy="4355784"/>
          </a:xfrm>
          <a:prstGeom prst="rect">
            <a:avLst/>
          </a:prstGeom>
        </p:spPr>
      </p:pic>
      <p:sp>
        <p:nvSpPr>
          <p:cNvPr id="8" name="Bildplatzhalter 6">
            <a:extLst>
              <a:ext uri="{FF2B5EF4-FFF2-40B4-BE49-F238E27FC236}">
                <a16:creationId xmlns:a16="http://schemas.microsoft.com/office/drawing/2014/main" id="{C5CDEF91-ADB7-4C9F-B188-AFF41ED904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41876" y="2392313"/>
            <a:ext cx="1844976" cy="3176637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333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mockup</a:t>
            </a:r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837D790E-791D-4B47-8668-C16B8E0F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61867" y="4838088"/>
            <a:ext cx="2054400" cy="1135195"/>
          </a:xfrm>
        </p:spPr>
        <p:txBody>
          <a:bodyPr/>
          <a:lstStyle>
            <a:lvl1pPr marL="0" indent="0">
              <a:buNone/>
              <a:defRPr sz="1333"/>
            </a:lvl1pPr>
          </a:lstStyle>
          <a:p>
            <a:pPr lvl="0"/>
            <a:r>
              <a:rPr lang="en-US" noProof="0"/>
              <a:t>Captio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7730EDB-7E46-48A4-AD1F-B585E8901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29003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DD5C4-2F9A-4187-8DF4-68B5719E7811}" type="datetime1">
              <a:rPr lang="en-US" noProof="0" smtClean="0"/>
              <a:t>6/6/2019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372709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DD9623DE-AA5A-4A69-8420-9B9D046768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32" y="382059"/>
            <a:ext cx="8987368" cy="780787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0480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5">
            <a:extLst>
              <a:ext uri="{FF2B5EF4-FFF2-40B4-BE49-F238E27FC236}">
                <a16:creationId xmlns:a16="http://schemas.microsoft.com/office/drawing/2014/main" id="{6C4172ED-7F14-4D3C-96C0-FFFD7912A4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3195464" y="559472"/>
            <a:ext cx="7797080" cy="5253097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58" h="2195">
                <a:moveTo>
                  <a:pt x="0" y="0"/>
                </a:moveTo>
                <a:lnTo>
                  <a:pt x="134" y="2195"/>
                </a:lnTo>
                <a:lnTo>
                  <a:pt x="3131" y="2074"/>
                </a:lnTo>
                <a:lnTo>
                  <a:pt x="3258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501" y="1385987"/>
            <a:ext cx="6000948" cy="2475061"/>
          </a:xfrm>
        </p:spPr>
        <p:txBody>
          <a:bodyPr anchor="t"/>
          <a:lstStyle>
            <a:lvl1pPr>
              <a:lnSpc>
                <a:spcPct val="86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27501" y="3877982"/>
            <a:ext cx="6000948" cy="511125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A10A8AB-3304-4C68-84DC-CBA205FE3D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27501" y="4406040"/>
            <a:ext cx="4464777" cy="734219"/>
          </a:xfrm>
        </p:spPr>
        <p:txBody>
          <a:bodyPr anchor="b"/>
          <a:lstStyle>
            <a:lvl1pPr marL="0" indent="0">
              <a:lnSpc>
                <a:spcPct val="110000"/>
              </a:lnSpc>
              <a:buNone/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47204DD-F4C9-4448-80D4-E8A2EC321B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933" y="4625867"/>
            <a:ext cx="2895560" cy="1621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5633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6DFC7605-B230-4EC3-9C0A-265AAF634C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47C8BD19-C9A1-4075-B607-5C81A55A9BE4}"/>
              </a:ext>
            </a:extLst>
          </p:cNvPr>
          <p:cNvSpPr>
            <a:spLocks/>
          </p:cNvSpPr>
          <p:nvPr userDrawn="1"/>
        </p:nvSpPr>
        <p:spPr bwMode="auto">
          <a:xfrm>
            <a:off x="568669" y="3669027"/>
            <a:ext cx="4951267" cy="2461189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  <a:gd name="connsiteX0" fmla="*/ 0 w 10000"/>
              <a:gd name="connsiteY0" fmla="*/ 0 h 9449"/>
              <a:gd name="connsiteX1" fmla="*/ 758 w 10000"/>
              <a:gd name="connsiteY1" fmla="*/ 8173 h 9449"/>
              <a:gd name="connsiteX2" fmla="*/ 9610 w 10000"/>
              <a:gd name="connsiteY2" fmla="*/ 9449 h 9449"/>
              <a:gd name="connsiteX3" fmla="*/ 10000 w 10000"/>
              <a:gd name="connsiteY3" fmla="*/ 0 h 9449"/>
              <a:gd name="connsiteX4" fmla="*/ 0 w 10000"/>
              <a:gd name="connsiteY4" fmla="*/ 0 h 9449"/>
              <a:gd name="connsiteX0" fmla="*/ 0 w 10000"/>
              <a:gd name="connsiteY0" fmla="*/ 0 h 8650"/>
              <a:gd name="connsiteX1" fmla="*/ 758 w 10000"/>
              <a:gd name="connsiteY1" fmla="*/ 8650 h 8650"/>
              <a:gd name="connsiteX2" fmla="*/ 8602 w 10000"/>
              <a:gd name="connsiteY2" fmla="*/ 8106 h 8650"/>
              <a:gd name="connsiteX3" fmla="*/ 10000 w 10000"/>
              <a:gd name="connsiteY3" fmla="*/ 0 h 8650"/>
              <a:gd name="connsiteX4" fmla="*/ 0 w 10000"/>
              <a:gd name="connsiteY4" fmla="*/ 0 h 8650"/>
              <a:gd name="connsiteX0" fmla="*/ 0 w 10000"/>
              <a:gd name="connsiteY0" fmla="*/ 0 h 10191"/>
              <a:gd name="connsiteX1" fmla="*/ 758 w 10000"/>
              <a:gd name="connsiteY1" fmla="*/ 10000 h 10191"/>
              <a:gd name="connsiteX2" fmla="*/ 9599 w 10000"/>
              <a:gd name="connsiteY2" fmla="*/ 10191 h 10191"/>
              <a:gd name="connsiteX3" fmla="*/ 10000 w 10000"/>
              <a:gd name="connsiteY3" fmla="*/ 0 h 10191"/>
              <a:gd name="connsiteX4" fmla="*/ 0 w 10000"/>
              <a:gd name="connsiteY4" fmla="*/ 0 h 10191"/>
              <a:gd name="connsiteX0" fmla="*/ 0 w 10000"/>
              <a:gd name="connsiteY0" fmla="*/ 0 h 10750"/>
              <a:gd name="connsiteX1" fmla="*/ 422 w 10000"/>
              <a:gd name="connsiteY1" fmla="*/ 10750 h 10750"/>
              <a:gd name="connsiteX2" fmla="*/ 9599 w 10000"/>
              <a:gd name="connsiteY2" fmla="*/ 10191 h 10750"/>
              <a:gd name="connsiteX3" fmla="*/ 10000 w 10000"/>
              <a:gd name="connsiteY3" fmla="*/ 0 h 10750"/>
              <a:gd name="connsiteX4" fmla="*/ 0 w 10000"/>
              <a:gd name="connsiteY4" fmla="*/ 0 h 10750"/>
              <a:gd name="connsiteX0" fmla="*/ 0 w 10000"/>
              <a:gd name="connsiteY0" fmla="*/ 0 h 10750"/>
              <a:gd name="connsiteX1" fmla="*/ 422 w 10000"/>
              <a:gd name="connsiteY1" fmla="*/ 10750 h 10750"/>
              <a:gd name="connsiteX2" fmla="*/ 9599 w 10000"/>
              <a:gd name="connsiteY2" fmla="*/ 10191 h 10750"/>
              <a:gd name="connsiteX3" fmla="*/ 10000 w 10000"/>
              <a:gd name="connsiteY3" fmla="*/ 0 h 10750"/>
              <a:gd name="connsiteX4" fmla="*/ 0 w 10000"/>
              <a:gd name="connsiteY4" fmla="*/ 0 h 10750"/>
              <a:gd name="connsiteX0" fmla="*/ 0 w 10000"/>
              <a:gd name="connsiteY0" fmla="*/ 0 h 10206"/>
              <a:gd name="connsiteX1" fmla="*/ 326 w 10000"/>
              <a:gd name="connsiteY1" fmla="*/ 9027 h 10206"/>
              <a:gd name="connsiteX2" fmla="*/ 9599 w 10000"/>
              <a:gd name="connsiteY2" fmla="*/ 10191 h 10206"/>
              <a:gd name="connsiteX3" fmla="*/ 10000 w 10000"/>
              <a:gd name="connsiteY3" fmla="*/ 0 h 10206"/>
              <a:gd name="connsiteX4" fmla="*/ 0 w 10000"/>
              <a:gd name="connsiteY4" fmla="*/ 0 h 10206"/>
              <a:gd name="connsiteX0" fmla="*/ 0 w 10000"/>
              <a:gd name="connsiteY0" fmla="*/ 0 h 9027"/>
              <a:gd name="connsiteX1" fmla="*/ 326 w 10000"/>
              <a:gd name="connsiteY1" fmla="*/ 9027 h 9027"/>
              <a:gd name="connsiteX2" fmla="*/ 9471 w 10000"/>
              <a:gd name="connsiteY2" fmla="*/ 7396 h 9027"/>
              <a:gd name="connsiteX3" fmla="*/ 10000 w 10000"/>
              <a:gd name="connsiteY3" fmla="*/ 0 h 9027"/>
              <a:gd name="connsiteX4" fmla="*/ 0 w 10000"/>
              <a:gd name="connsiteY4" fmla="*/ 0 h 9027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326 w 10000"/>
              <a:gd name="connsiteY1" fmla="*/ 10000 h 10000"/>
              <a:gd name="connsiteX2" fmla="*/ 9586 w 10000"/>
              <a:gd name="connsiteY2" fmla="*/ 9044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cubicBezTo>
                  <a:pt x="109" y="3333"/>
                  <a:pt x="217" y="6667"/>
                  <a:pt x="326" y="10000"/>
                </a:cubicBezTo>
                <a:lnTo>
                  <a:pt x="9586" y="9044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89086" y="4332635"/>
            <a:ext cx="3994813" cy="1448627"/>
          </a:xfrm>
        </p:spPr>
        <p:txBody>
          <a:bodyPr/>
          <a:lstStyle>
            <a:lvl1pPr>
              <a:lnSpc>
                <a:spcPct val="80000"/>
              </a:lnSpc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905154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6DFC7605-B230-4EC3-9C0A-265AAF634C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0763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D4F4A-6E44-4578-AFBA-25F29115DAB1}" type="datetime1">
              <a:rPr lang="en-US" noProof="0" smtClean="0"/>
              <a:t>6/6/2019</a:t>
            </a:fld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477361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image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5915" y="274639"/>
            <a:ext cx="11038386" cy="49371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Edit headline by clicking.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575915" y="1268413"/>
            <a:ext cx="11616086" cy="2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76113" y="731109"/>
            <a:ext cx="11038187" cy="500063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de-DE" sz="1799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GB" noProof="0" dirty="0"/>
              <a:t>Edit subline by clicking.</a:t>
            </a:r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844674"/>
            <a:ext cx="12192000" cy="5013326"/>
          </a:xfr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72000" tIns="36000" rIns="0" bIns="0" rtlCol="0" anchor="t" anchorCtr="0">
            <a:noAutofit/>
          </a:bodyPr>
          <a:lstStyle>
            <a:lvl1pPr marL="265033" indent="-265033">
              <a:buNone/>
              <a:defRPr lang="en-GB" noProof="0" dirty="0"/>
            </a:lvl1pPr>
          </a:lstStyle>
          <a:p>
            <a:pPr marL="0" lvl="0" indent="0"/>
            <a:r>
              <a:rPr lang="en-US" dirty="0"/>
              <a:t>Insert visual by clicking on symbol.</a:t>
            </a:r>
            <a:endParaRPr lang="en-GB" noProof="0" dirty="0"/>
          </a:p>
          <a:p>
            <a:pPr marL="0" lvl="0" indent="0">
              <a:buNone/>
            </a:pP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168028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 Copy + Imag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6424613"/>
            <a:ext cx="12192000" cy="4333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 noProof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426000"/>
            <a:ext cx="43188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5898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E064CE14-7E46-4B38-A576-1AC7795256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3195464" y="559472"/>
            <a:ext cx="7797080" cy="5253097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58" h="2195">
                <a:moveTo>
                  <a:pt x="0" y="0"/>
                </a:moveTo>
                <a:lnTo>
                  <a:pt x="134" y="2195"/>
                </a:lnTo>
                <a:lnTo>
                  <a:pt x="3131" y="2074"/>
                </a:lnTo>
                <a:lnTo>
                  <a:pt x="3258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501" y="1385987"/>
            <a:ext cx="6000948" cy="2475061"/>
          </a:xfrm>
        </p:spPr>
        <p:txBody>
          <a:bodyPr anchor="t"/>
          <a:lstStyle>
            <a:lvl1pPr>
              <a:lnSpc>
                <a:spcPct val="86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27501" y="3877982"/>
            <a:ext cx="6000948" cy="511125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A10A8AB-3304-4C68-84DC-CBA205FE3D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27501" y="4406040"/>
            <a:ext cx="4464777" cy="734219"/>
          </a:xfrm>
        </p:spPr>
        <p:txBody>
          <a:bodyPr anchor="b"/>
          <a:lstStyle>
            <a:lvl1pPr marL="0" indent="0">
              <a:lnSpc>
                <a:spcPct val="110000"/>
              </a:lnSpc>
              <a:buNone/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pic>
        <p:nvPicPr>
          <p:cNvPr id="10" name="Grafik 12">
            <a:extLst>
              <a:ext uri="{FF2B5EF4-FFF2-40B4-BE49-F238E27FC236}">
                <a16:creationId xmlns:a16="http://schemas.microsoft.com/office/drawing/2014/main" id="{347204DD-F4C9-4448-80D4-E8A2EC321B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933" y="4625867"/>
            <a:ext cx="2895560" cy="1621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0759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223A2129-92C0-49AD-93B7-0E623A6645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3195464" y="559472"/>
            <a:ext cx="7797080" cy="5253097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58" h="2195">
                <a:moveTo>
                  <a:pt x="0" y="0"/>
                </a:moveTo>
                <a:lnTo>
                  <a:pt x="134" y="2195"/>
                </a:lnTo>
                <a:lnTo>
                  <a:pt x="3131" y="2074"/>
                </a:lnTo>
                <a:lnTo>
                  <a:pt x="3258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501" y="1385987"/>
            <a:ext cx="6000948" cy="2475061"/>
          </a:xfrm>
        </p:spPr>
        <p:txBody>
          <a:bodyPr anchor="t"/>
          <a:lstStyle>
            <a:lvl1pPr>
              <a:lnSpc>
                <a:spcPct val="86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27501" y="3877982"/>
            <a:ext cx="6000948" cy="511125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A10A8AB-3304-4C68-84DC-CBA205FE3D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27501" y="4406040"/>
            <a:ext cx="4464777" cy="734219"/>
          </a:xfrm>
        </p:spPr>
        <p:txBody>
          <a:bodyPr anchor="b"/>
          <a:lstStyle>
            <a:lvl1pPr marL="0" indent="0">
              <a:lnSpc>
                <a:spcPct val="110000"/>
              </a:lnSpc>
              <a:buNone/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pic>
        <p:nvPicPr>
          <p:cNvPr id="10" name="Grafik 12">
            <a:extLst>
              <a:ext uri="{FF2B5EF4-FFF2-40B4-BE49-F238E27FC236}">
                <a16:creationId xmlns:a16="http://schemas.microsoft.com/office/drawing/2014/main" id="{347204DD-F4C9-4448-80D4-E8A2EC321B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933" y="4625867"/>
            <a:ext cx="2895560" cy="1621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924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E0EFC21B-9B56-43BD-ABCB-8F6C8498DE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3195464" y="559472"/>
            <a:ext cx="7797080" cy="5253097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58" h="2195">
                <a:moveTo>
                  <a:pt x="0" y="0"/>
                </a:moveTo>
                <a:lnTo>
                  <a:pt x="134" y="2195"/>
                </a:lnTo>
                <a:lnTo>
                  <a:pt x="3131" y="2074"/>
                </a:lnTo>
                <a:lnTo>
                  <a:pt x="3258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501" y="1385987"/>
            <a:ext cx="6000948" cy="2475061"/>
          </a:xfrm>
        </p:spPr>
        <p:txBody>
          <a:bodyPr anchor="t"/>
          <a:lstStyle>
            <a:lvl1pPr>
              <a:lnSpc>
                <a:spcPct val="86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27501" y="3877982"/>
            <a:ext cx="6000948" cy="511125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A10A8AB-3304-4C68-84DC-CBA205FE3D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27501" y="4406040"/>
            <a:ext cx="4464777" cy="734219"/>
          </a:xfrm>
        </p:spPr>
        <p:txBody>
          <a:bodyPr anchor="b"/>
          <a:lstStyle>
            <a:lvl1pPr marL="0" indent="0">
              <a:lnSpc>
                <a:spcPct val="110000"/>
              </a:lnSpc>
              <a:buNone/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pic>
        <p:nvPicPr>
          <p:cNvPr id="10" name="Grafik 12">
            <a:extLst>
              <a:ext uri="{FF2B5EF4-FFF2-40B4-BE49-F238E27FC236}">
                <a16:creationId xmlns:a16="http://schemas.microsoft.com/office/drawing/2014/main" id="{347204DD-F4C9-4448-80D4-E8A2EC321B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933" y="4625867"/>
            <a:ext cx="2895560" cy="1621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119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23A008CD-383F-446A-B12D-6012B8E2EB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3195464" y="559472"/>
            <a:ext cx="7797080" cy="5253097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58" h="2195">
                <a:moveTo>
                  <a:pt x="0" y="0"/>
                </a:moveTo>
                <a:lnTo>
                  <a:pt x="134" y="2195"/>
                </a:lnTo>
                <a:lnTo>
                  <a:pt x="3131" y="2074"/>
                </a:lnTo>
                <a:lnTo>
                  <a:pt x="3258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501" y="1385987"/>
            <a:ext cx="6000948" cy="2475061"/>
          </a:xfrm>
        </p:spPr>
        <p:txBody>
          <a:bodyPr anchor="t"/>
          <a:lstStyle>
            <a:lvl1pPr>
              <a:lnSpc>
                <a:spcPct val="86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27501" y="3877982"/>
            <a:ext cx="6000948" cy="511125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A10A8AB-3304-4C68-84DC-CBA205FE3D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27501" y="4406040"/>
            <a:ext cx="4464777" cy="734219"/>
          </a:xfrm>
        </p:spPr>
        <p:txBody>
          <a:bodyPr anchor="b"/>
          <a:lstStyle>
            <a:lvl1pPr marL="0" indent="0">
              <a:lnSpc>
                <a:spcPct val="110000"/>
              </a:lnSpc>
              <a:buNone/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pic>
        <p:nvPicPr>
          <p:cNvPr id="10" name="Grafik 12">
            <a:extLst>
              <a:ext uri="{FF2B5EF4-FFF2-40B4-BE49-F238E27FC236}">
                <a16:creationId xmlns:a16="http://schemas.microsoft.com/office/drawing/2014/main" id="{347204DD-F4C9-4448-80D4-E8A2EC321B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933" y="4625867"/>
            <a:ext cx="2895560" cy="1621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91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12">
            <a:extLst>
              <a:ext uri="{FF2B5EF4-FFF2-40B4-BE49-F238E27FC236}">
                <a16:creationId xmlns:a16="http://schemas.microsoft.com/office/drawing/2014/main" id="{5F19ABA3-3646-45BF-A8B1-321D65D371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575733" y="559472"/>
            <a:ext cx="6739467" cy="4248161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  <a:gd name="connsiteX0" fmla="*/ 0 w 10000"/>
              <a:gd name="connsiteY0" fmla="*/ 0 h 9449"/>
              <a:gd name="connsiteX1" fmla="*/ 599 w 10000"/>
              <a:gd name="connsiteY1" fmla="*/ 8918 h 9449"/>
              <a:gd name="connsiteX2" fmla="*/ 9610 w 10000"/>
              <a:gd name="connsiteY2" fmla="*/ 9449 h 9449"/>
              <a:gd name="connsiteX3" fmla="*/ 10000 w 10000"/>
              <a:gd name="connsiteY3" fmla="*/ 0 h 9449"/>
              <a:gd name="connsiteX4" fmla="*/ 0 w 10000"/>
              <a:gd name="connsiteY4" fmla="*/ 0 h 9449"/>
              <a:gd name="connsiteX0" fmla="*/ 0 w 10000"/>
              <a:gd name="connsiteY0" fmla="*/ 0 h 10000"/>
              <a:gd name="connsiteX1" fmla="*/ 404 w 10000"/>
              <a:gd name="connsiteY1" fmla="*/ 9872 h 10000"/>
              <a:gd name="connsiteX2" fmla="*/ 961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9872"/>
              <a:gd name="connsiteX1" fmla="*/ 404 w 10000"/>
              <a:gd name="connsiteY1" fmla="*/ 9872 h 9872"/>
              <a:gd name="connsiteX2" fmla="*/ 9246 w 10000"/>
              <a:gd name="connsiteY2" fmla="*/ 8609 h 9872"/>
              <a:gd name="connsiteX3" fmla="*/ 10000 w 10000"/>
              <a:gd name="connsiteY3" fmla="*/ 0 h 9872"/>
              <a:gd name="connsiteX4" fmla="*/ 0 w 10000"/>
              <a:gd name="connsiteY4" fmla="*/ 0 h 9872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30"/>
              <a:gd name="connsiteX1" fmla="*/ 410 w 10000"/>
              <a:gd name="connsiteY1" fmla="*/ 10030 h 10030"/>
              <a:gd name="connsiteX2" fmla="*/ 9598 w 10000"/>
              <a:gd name="connsiteY2" fmla="*/ 9491 h 10030"/>
              <a:gd name="connsiteX3" fmla="*/ 10000 w 10000"/>
              <a:gd name="connsiteY3" fmla="*/ 0 h 10030"/>
              <a:gd name="connsiteX4" fmla="*/ 0 w 10000"/>
              <a:gd name="connsiteY4" fmla="*/ 0 h 10030"/>
              <a:gd name="connsiteX0" fmla="*/ 0 w 10000"/>
              <a:gd name="connsiteY0" fmla="*/ 0 h 10030"/>
              <a:gd name="connsiteX1" fmla="*/ 410 w 10000"/>
              <a:gd name="connsiteY1" fmla="*/ 10030 h 10030"/>
              <a:gd name="connsiteX2" fmla="*/ 9598 w 10000"/>
              <a:gd name="connsiteY2" fmla="*/ 9491 h 10030"/>
              <a:gd name="connsiteX3" fmla="*/ 10000 w 10000"/>
              <a:gd name="connsiteY3" fmla="*/ 0 h 10030"/>
              <a:gd name="connsiteX4" fmla="*/ 0 w 10000"/>
              <a:gd name="connsiteY4" fmla="*/ 0 h 1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30">
                <a:moveTo>
                  <a:pt x="0" y="0"/>
                </a:moveTo>
                <a:cubicBezTo>
                  <a:pt x="137" y="3343"/>
                  <a:pt x="273" y="6687"/>
                  <a:pt x="410" y="10030"/>
                </a:cubicBezTo>
                <a:lnTo>
                  <a:pt x="9598" y="9491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67" y="1425478"/>
            <a:ext cx="5568619" cy="2243549"/>
          </a:xfrm>
        </p:spPr>
        <p:txBody>
          <a:bodyPr anchor="t"/>
          <a:lstStyle>
            <a:lvl1pPr>
              <a:lnSpc>
                <a:spcPct val="7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5467" y="3657006"/>
            <a:ext cx="5568619" cy="73210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18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>
            <a:extLst>
              <a:ext uri="{FF2B5EF4-FFF2-40B4-BE49-F238E27FC236}">
                <a16:creationId xmlns:a16="http://schemas.microsoft.com/office/drawing/2014/main" id="{E6BC8EB5-4744-49FA-B645-4394E1B0E7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329A1CBA-9B21-417C-82B4-0C5189633955}"/>
              </a:ext>
            </a:extLst>
          </p:cNvPr>
          <p:cNvSpPr>
            <a:spLocks/>
          </p:cNvSpPr>
          <p:nvPr userDrawn="1"/>
        </p:nvSpPr>
        <p:spPr bwMode="auto">
          <a:xfrm>
            <a:off x="575733" y="559472"/>
            <a:ext cx="6739467" cy="4248161"/>
          </a:xfrm>
          <a:custGeom>
            <a:avLst/>
            <a:gdLst>
              <a:gd name="T0" fmla="*/ 0 w 3258"/>
              <a:gd name="T1" fmla="*/ 0 h 2195"/>
              <a:gd name="T2" fmla="*/ 134 w 3258"/>
              <a:gd name="T3" fmla="*/ 2195 h 2195"/>
              <a:gd name="T4" fmla="*/ 3131 w 3258"/>
              <a:gd name="T5" fmla="*/ 2074 h 2195"/>
              <a:gd name="T6" fmla="*/ 3258 w 3258"/>
              <a:gd name="T7" fmla="*/ 0 h 2195"/>
              <a:gd name="T8" fmla="*/ 0 w 3258"/>
              <a:gd name="T9" fmla="*/ 0 h 2195"/>
              <a:gd name="connsiteX0" fmla="*/ 0 w 10000"/>
              <a:gd name="connsiteY0" fmla="*/ 0 h 9449"/>
              <a:gd name="connsiteX1" fmla="*/ 599 w 10000"/>
              <a:gd name="connsiteY1" fmla="*/ 8918 h 9449"/>
              <a:gd name="connsiteX2" fmla="*/ 9610 w 10000"/>
              <a:gd name="connsiteY2" fmla="*/ 9449 h 9449"/>
              <a:gd name="connsiteX3" fmla="*/ 10000 w 10000"/>
              <a:gd name="connsiteY3" fmla="*/ 0 h 9449"/>
              <a:gd name="connsiteX4" fmla="*/ 0 w 10000"/>
              <a:gd name="connsiteY4" fmla="*/ 0 h 9449"/>
              <a:gd name="connsiteX0" fmla="*/ 0 w 10000"/>
              <a:gd name="connsiteY0" fmla="*/ 0 h 10000"/>
              <a:gd name="connsiteX1" fmla="*/ 404 w 10000"/>
              <a:gd name="connsiteY1" fmla="*/ 9872 h 10000"/>
              <a:gd name="connsiteX2" fmla="*/ 961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9872"/>
              <a:gd name="connsiteX1" fmla="*/ 404 w 10000"/>
              <a:gd name="connsiteY1" fmla="*/ 9872 h 9872"/>
              <a:gd name="connsiteX2" fmla="*/ 9246 w 10000"/>
              <a:gd name="connsiteY2" fmla="*/ 8609 h 9872"/>
              <a:gd name="connsiteX3" fmla="*/ 10000 w 10000"/>
              <a:gd name="connsiteY3" fmla="*/ 0 h 9872"/>
              <a:gd name="connsiteX4" fmla="*/ 0 w 10000"/>
              <a:gd name="connsiteY4" fmla="*/ 0 h 9872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404 w 10000"/>
              <a:gd name="connsiteY1" fmla="*/ 10000 h 10000"/>
              <a:gd name="connsiteX2" fmla="*/ 9598 w 10000"/>
              <a:gd name="connsiteY2" fmla="*/ 949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30"/>
              <a:gd name="connsiteX1" fmla="*/ 410 w 10000"/>
              <a:gd name="connsiteY1" fmla="*/ 10030 h 10030"/>
              <a:gd name="connsiteX2" fmla="*/ 9598 w 10000"/>
              <a:gd name="connsiteY2" fmla="*/ 9491 h 10030"/>
              <a:gd name="connsiteX3" fmla="*/ 10000 w 10000"/>
              <a:gd name="connsiteY3" fmla="*/ 0 h 10030"/>
              <a:gd name="connsiteX4" fmla="*/ 0 w 10000"/>
              <a:gd name="connsiteY4" fmla="*/ 0 h 10030"/>
              <a:gd name="connsiteX0" fmla="*/ 0 w 10000"/>
              <a:gd name="connsiteY0" fmla="*/ 0 h 10030"/>
              <a:gd name="connsiteX1" fmla="*/ 410 w 10000"/>
              <a:gd name="connsiteY1" fmla="*/ 10030 h 10030"/>
              <a:gd name="connsiteX2" fmla="*/ 9598 w 10000"/>
              <a:gd name="connsiteY2" fmla="*/ 9491 h 10030"/>
              <a:gd name="connsiteX3" fmla="*/ 10000 w 10000"/>
              <a:gd name="connsiteY3" fmla="*/ 0 h 10030"/>
              <a:gd name="connsiteX4" fmla="*/ 0 w 10000"/>
              <a:gd name="connsiteY4" fmla="*/ 0 h 1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30">
                <a:moveTo>
                  <a:pt x="0" y="0"/>
                </a:moveTo>
                <a:cubicBezTo>
                  <a:pt x="137" y="3343"/>
                  <a:pt x="273" y="6687"/>
                  <a:pt x="410" y="10030"/>
                </a:cubicBezTo>
                <a:lnTo>
                  <a:pt x="9598" y="9491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67" y="1425478"/>
            <a:ext cx="5568619" cy="2243549"/>
          </a:xfrm>
        </p:spPr>
        <p:txBody>
          <a:bodyPr anchor="t"/>
          <a:lstStyle>
            <a:lvl1pPr>
              <a:lnSpc>
                <a:spcPct val="7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03F8266-7713-4BE2-91E6-0B6EE51EE0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5467" y="3657006"/>
            <a:ext cx="5568619" cy="73210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33151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5732" y="439968"/>
            <a:ext cx="8987368" cy="780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5734" y="1460465"/>
            <a:ext cx="11040533" cy="48006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888422" y="6357327"/>
            <a:ext cx="1200133" cy="205235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AE3D0CC6-F37D-4BCB-97F8-82BD02BA3C58}" type="datetime1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75733" y="6357325"/>
            <a:ext cx="10512823" cy="20523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Rebranding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184566" y="6357325"/>
            <a:ext cx="431701" cy="205235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8B502147-0FBB-4BAE-8E11-C987157166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2A3C1FC-DEE9-4949-B08F-DF193A66471D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3465" y="394414"/>
            <a:ext cx="1042801" cy="583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866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703" r:id="rId31"/>
    <p:sldLayoutId id="2147483691" r:id="rId32"/>
    <p:sldLayoutId id="2147483697" r:id="rId33"/>
    <p:sldLayoutId id="2147483702" r:id="rId34"/>
  </p:sldLayoutIdLst>
  <p:hf hdr="0" dt="0"/>
  <p:txStyles>
    <p:titleStyle>
      <a:lvl1pPr algn="l" defTabSz="1219170" rtl="0" eaLnBrk="1" latinLnBrk="0" hangingPunct="1">
        <a:lnSpc>
          <a:spcPct val="100000"/>
        </a:lnSpc>
        <a:spcBef>
          <a:spcPts val="0"/>
        </a:spcBef>
        <a:buNone/>
        <a:defRPr sz="2400" b="1" kern="1200" cap="all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76239" indent="-234945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1541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956709" indent="-241294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198003" indent="-241294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272">
          <p15:clr>
            <a:srgbClr val="F26B43"/>
          </p15:clr>
        </p15:guide>
        <p15:guide id="3" pos="5488">
          <p15:clr>
            <a:srgbClr val="F26B43"/>
          </p15:clr>
        </p15:guide>
        <p15:guide id="7" pos="1066">
          <p15:clr>
            <a:srgbClr val="F26B43"/>
          </p15:clr>
        </p15:guide>
        <p15:guide id="8" pos="4694">
          <p15:clr>
            <a:srgbClr val="F26B43"/>
          </p15:clr>
        </p15:guide>
        <p15:guide id="9" pos="1156">
          <p15:clr>
            <a:srgbClr val="F26B43"/>
          </p15:clr>
        </p15:guide>
        <p15:guide id="10" pos="4604">
          <p15:clr>
            <a:srgbClr val="F26B43"/>
          </p15:clr>
        </p15:guide>
        <p15:guide id="15" orient="horz" pos="2958">
          <p15:clr>
            <a:srgbClr val="F26B43"/>
          </p15:clr>
        </p15:guide>
        <p15:guide id="20" pos="2835">
          <p15:clr>
            <a:srgbClr val="F26B43"/>
          </p15:clr>
        </p15:guide>
        <p15:guide id="21" pos="2925">
          <p15:clr>
            <a:srgbClr val="F26B43"/>
          </p15:clr>
        </p15:guide>
        <p15:guide id="22" pos="3719">
          <p15:clr>
            <a:srgbClr val="F26B43"/>
          </p15:clr>
        </p15:guide>
        <p15:guide id="23" pos="3810">
          <p15:clr>
            <a:srgbClr val="F26B43"/>
          </p15:clr>
        </p15:guide>
        <p15:guide id="24" pos="1950">
          <p15:clr>
            <a:srgbClr val="F26B43"/>
          </p15:clr>
        </p15:guide>
        <p15:guide id="25" pos="204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2.xml"/><Relationship Id="rId7" Type="http://schemas.openxmlformats.org/officeDocument/2006/relationships/image" Target="../media/image1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4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219170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de-DE" sz="3200" b="1" dirty="0" err="1">
              <a:solidFill>
                <a:prstClr val="white"/>
              </a:solidFill>
              <a:latin typeface="Corbel" panose="020B0503020204020204" pitchFamily="34" charset="0"/>
              <a:sym typeface="Corbel" panose="020B0503020204020204" pitchFamily="34" charset="0"/>
            </a:endParaRPr>
          </a:p>
        </p:txBody>
      </p:sp>
      <p:pic>
        <p:nvPicPr>
          <p:cNvPr id="32" name="Bildplatzhalter 31">
            <a:extLst>
              <a:ext uri="{FF2B5EF4-FFF2-40B4-BE49-F238E27FC236}">
                <a16:creationId xmlns:a16="http://schemas.microsoft.com/office/drawing/2014/main" id="{42FDB9F9-FDDF-45A2-AD6F-1343D568999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8"/>
          <a:stretch>
            <a:fillRect/>
          </a:stretch>
        </p:blipFill>
        <p:spPr>
          <a:xfrm>
            <a:off x="-12152" y="324"/>
            <a:ext cx="12234775" cy="688538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847A00A5-EFDB-4239-A9FC-9C8C01A912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58986" y="1976139"/>
            <a:ext cx="6302437" cy="3734627"/>
          </a:xfrm>
        </p:spPr>
        <p:txBody>
          <a:bodyPr/>
          <a:lstStyle/>
          <a:p>
            <a:r>
              <a:rPr lang="en-US" sz="4000" dirty="0"/>
              <a:t/>
            </a:r>
            <a:br>
              <a:rPr lang="en-US" sz="4000" dirty="0"/>
            </a:br>
            <a:r>
              <a:rPr lang="en-US" sz="4000" dirty="0" smtClean="0"/>
              <a:t>Getting </a:t>
            </a:r>
            <a:r>
              <a:rPr lang="en-US" sz="4000" dirty="0"/>
              <a:t>started with </a:t>
            </a:r>
            <a:r>
              <a:rPr lang="en-US" sz="4000" dirty="0" err="1"/>
              <a:t>Parkmobile’s</a:t>
            </a:r>
            <a:r>
              <a:rPr lang="en-US" sz="4000" dirty="0"/>
              <a:t> API’s </a:t>
            </a:r>
            <a:endParaRPr lang="de-DE" sz="4000" dirty="0"/>
          </a:p>
        </p:txBody>
      </p:sp>
      <p:sp>
        <p:nvSpPr>
          <p:cNvPr id="18" name="Untertitel 17">
            <a:extLst>
              <a:ext uri="{FF2B5EF4-FFF2-40B4-BE49-F238E27FC236}">
                <a16:creationId xmlns:a16="http://schemas.microsoft.com/office/drawing/2014/main" id="{9BD2CCD6-FFBC-4157-BF03-51C1FDCA46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02929" y="4624144"/>
            <a:ext cx="2425323" cy="826528"/>
          </a:xfrm>
        </p:spPr>
        <p:txBody>
          <a:bodyPr/>
          <a:lstStyle/>
          <a:p>
            <a:r>
              <a:rPr lang="de-DE" dirty="0" smtClean="0"/>
              <a:t>Parkmobile </a:t>
            </a:r>
            <a:r>
              <a:rPr lang="de-DE" dirty="0" smtClean="0"/>
              <a:t>Developers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93D9965-6E75-AF43-90F9-D735E4C95F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0253" y="4815228"/>
            <a:ext cx="2874495" cy="1609555"/>
          </a:xfrm>
          <a:prstGeom prst="rect">
            <a:avLst/>
          </a:prstGeo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9F5039F-46D9-4519-8950-935B99389A0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301168" y="453033"/>
            <a:ext cx="2735263" cy="5924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55537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036380" y="1683283"/>
            <a:ext cx="8159749" cy="602717"/>
          </a:xfrm>
        </p:spPr>
        <p:txBody>
          <a:bodyPr/>
          <a:lstStyle/>
          <a:p>
            <a:r>
              <a:rPr lang="en-US" sz="2800" dirty="0" smtClean="0"/>
              <a:t>Parking </a:t>
            </a:r>
            <a:r>
              <a:rPr lang="en-US" sz="2800" dirty="0" smtClean="0"/>
              <a:t>service allows you to </a:t>
            </a:r>
          </a:p>
          <a:p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gray">
          <a:xfrm>
            <a:off x="517483" y="866342"/>
            <a:ext cx="11271504" cy="579907"/>
          </a:xfrm>
          <a:prstGeom prst="rect">
            <a:avLst/>
          </a:prstGeom>
          <a:solidFill>
            <a:srgbClr val="005272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all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       PARKING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655256" y="2423974"/>
            <a:ext cx="7113647" cy="3153245"/>
            <a:chOff x="1655256" y="2423974"/>
            <a:chExt cx="7113647" cy="3153245"/>
          </a:xfrm>
        </p:grpSpPr>
        <p:sp>
          <p:nvSpPr>
            <p:cNvPr id="13" name="Freeform 12"/>
            <p:cNvSpPr/>
            <p:nvPr/>
          </p:nvSpPr>
          <p:spPr>
            <a:xfrm rot="21600000">
              <a:off x="1655256" y="2423974"/>
              <a:ext cx="1683703" cy="3153245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0" y="0"/>
                  </a:lnTo>
                  <a:lnTo>
                    <a:pt x="10000" y="2000"/>
                  </a:lnTo>
                  <a:lnTo>
                    <a:pt x="10000" y="8000"/>
                  </a:lnTo>
                  <a:lnTo>
                    <a:pt x="0" y="1000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0500" tIns="630649" rIns="188206" bIns="630649" numCol="1" spcCol="1270" anchor="ctr" anchorCtr="0">
              <a:noAutofit/>
            </a:bodyPr>
            <a:lstStyle/>
            <a:p>
              <a:pPr lvl="0"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000" kern="1200" dirty="0" smtClean="0"/>
                <a:t>Start – stop parking action</a:t>
              </a:r>
              <a:endParaRPr lang="en-US" sz="3000" kern="1200" dirty="0"/>
            </a:p>
          </p:txBody>
        </p:sp>
        <p:sp>
          <p:nvSpPr>
            <p:cNvPr id="14" name="Freeform 13"/>
            <p:cNvSpPr/>
            <p:nvPr/>
          </p:nvSpPr>
          <p:spPr>
            <a:xfrm rot="21600000">
              <a:off x="3465237" y="2423974"/>
              <a:ext cx="1683703" cy="3153245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0" y="0"/>
                  </a:lnTo>
                  <a:lnTo>
                    <a:pt x="10000" y="2000"/>
                  </a:lnTo>
                  <a:lnTo>
                    <a:pt x="10000" y="8000"/>
                  </a:lnTo>
                  <a:lnTo>
                    <a:pt x="0" y="1000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90000"/>
                <a:hueOff val="0"/>
                <a:satOff val="0"/>
                <a:lumOff val="0"/>
                <a:alphaOff val="-13333"/>
              </a:schemeClr>
            </a:fillRef>
            <a:effectRef idx="0">
              <a:schemeClr val="accent2">
                <a:alpha val="90000"/>
                <a:hueOff val="0"/>
                <a:satOff val="0"/>
                <a:lumOff val="0"/>
                <a:alphaOff val="-13333"/>
              </a:schemeClr>
            </a:effectRef>
            <a:fontRef idx="minor">
              <a:schemeClr val="lt1"/>
            </a:fontRef>
          </p:style>
          <p:txBody>
            <a:bodyPr spcFirstLastPara="0" vert="horz" wrap="square" lIns="190500" tIns="630649" rIns="188206" bIns="630649" numCol="1" spcCol="1270" anchor="ctr" anchorCtr="0">
              <a:noAutofit/>
            </a:bodyPr>
            <a:lstStyle/>
            <a:p>
              <a:pPr lvl="0"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000" kern="1200" dirty="0" smtClean="0"/>
                <a:t>Register parking right</a:t>
              </a:r>
              <a:endParaRPr lang="en-US" sz="3000" kern="1200" dirty="0"/>
            </a:p>
          </p:txBody>
        </p:sp>
        <p:sp>
          <p:nvSpPr>
            <p:cNvPr id="15" name="Freeform 14"/>
            <p:cNvSpPr/>
            <p:nvPr/>
          </p:nvSpPr>
          <p:spPr>
            <a:xfrm rot="21600000">
              <a:off x="5275218" y="2423974"/>
              <a:ext cx="1683703" cy="3153245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0" y="0"/>
                  </a:lnTo>
                  <a:lnTo>
                    <a:pt x="10000" y="2000"/>
                  </a:lnTo>
                  <a:lnTo>
                    <a:pt x="10000" y="8000"/>
                  </a:lnTo>
                  <a:lnTo>
                    <a:pt x="0" y="1000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90000"/>
                <a:hueOff val="0"/>
                <a:satOff val="0"/>
                <a:lumOff val="0"/>
                <a:alphaOff val="-26667"/>
              </a:schemeClr>
            </a:fillRef>
            <a:effectRef idx="0">
              <a:schemeClr val="accent2">
                <a:alpha val="90000"/>
                <a:hueOff val="0"/>
                <a:satOff val="0"/>
                <a:lumOff val="0"/>
                <a:alphaOff val="-26667"/>
              </a:schemeClr>
            </a:effectRef>
            <a:fontRef idx="minor">
              <a:schemeClr val="lt1"/>
            </a:fontRef>
          </p:style>
          <p:txBody>
            <a:bodyPr spcFirstLastPara="0" vert="horz" wrap="square" lIns="190500" tIns="630649" rIns="188206" bIns="630649" numCol="1" spcCol="1270" anchor="ctr" anchorCtr="0">
              <a:noAutofit/>
            </a:bodyPr>
            <a:lstStyle/>
            <a:p>
              <a:pPr lvl="0"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000" kern="1200" dirty="0" smtClean="0"/>
                <a:t>Extend parking right</a:t>
              </a:r>
              <a:endParaRPr lang="en-US" sz="3000" kern="1200" dirty="0"/>
            </a:p>
          </p:txBody>
        </p:sp>
        <p:sp>
          <p:nvSpPr>
            <p:cNvPr id="16" name="Freeform 15"/>
            <p:cNvSpPr/>
            <p:nvPr/>
          </p:nvSpPr>
          <p:spPr>
            <a:xfrm rot="21600000">
              <a:off x="7085200" y="2423974"/>
              <a:ext cx="1683703" cy="3153245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0" y="0"/>
                  </a:lnTo>
                  <a:lnTo>
                    <a:pt x="10000" y="2000"/>
                  </a:lnTo>
                  <a:lnTo>
                    <a:pt x="10000" y="8000"/>
                  </a:lnTo>
                  <a:lnTo>
                    <a:pt x="0" y="1000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90000"/>
                <a:hueOff val="0"/>
                <a:satOff val="0"/>
                <a:lumOff val="0"/>
                <a:alphaOff val="-40000"/>
              </a:schemeClr>
            </a:fillRef>
            <a:effectRef idx="0">
              <a:schemeClr val="accent2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0500" tIns="630649" rIns="188206" bIns="630649" numCol="1" spcCol="1270" anchor="ctr" anchorCtr="0">
              <a:noAutofit/>
            </a:bodyPr>
            <a:lstStyle/>
            <a:p>
              <a:pPr lvl="0"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000" kern="1200" dirty="0" smtClean="0"/>
                <a:t>End parking right</a:t>
              </a:r>
              <a:endParaRPr lang="en-US" sz="3000" kern="1200" dirty="0"/>
            </a:p>
          </p:txBody>
        </p:sp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2601" y="1584223"/>
            <a:ext cx="2095451" cy="41424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71984135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E8BB206-1105-4833-BE41-DAB77C246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Rebranding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9B6791-8085-427E-B33B-56703D79D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noProof="0" smtClean="0"/>
              <a:t>11</a:t>
            </a:fld>
            <a:endParaRPr lang="en-US" noProof="0"/>
          </a:p>
        </p:txBody>
      </p:sp>
      <p:pic>
        <p:nvPicPr>
          <p:cNvPr id="10242" name="Picture 2" descr="Related image">
            <a:extLst>
              <a:ext uri="{FF2B5EF4-FFF2-40B4-BE49-F238E27FC236}">
                <a16:creationId xmlns:a16="http://schemas.microsoft.com/office/drawing/2014/main" id="{BB069BA0-A144-4414-8FD9-7F2AF19D9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A4529F4-F306-4C02-996F-C395D256887C}"/>
              </a:ext>
            </a:extLst>
          </p:cNvPr>
          <p:cNvSpPr/>
          <p:nvPr/>
        </p:nvSpPr>
        <p:spPr>
          <a:xfrm>
            <a:off x="7323871" y="730898"/>
            <a:ext cx="5135418" cy="812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/>
              <a:t>DEMO TIME !</a:t>
            </a:r>
            <a:endParaRPr lang="nl-NL" sz="4000" dirty="0" err="1"/>
          </a:p>
        </p:txBody>
      </p:sp>
    </p:spTree>
    <p:extLst>
      <p:ext uri="{BB962C8B-B14F-4D97-AF65-F5344CB8AC3E}">
        <p14:creationId xmlns:p14="http://schemas.microsoft.com/office/powerpoint/2010/main" val="143355622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93DD93-FF13-4233-8457-D77986FE98C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0200" y="6357938"/>
            <a:ext cx="431800" cy="204787"/>
          </a:xfrm>
        </p:spPr>
        <p:txBody>
          <a:bodyPr/>
          <a:lstStyle/>
          <a:p>
            <a:fld id="{8B502147-0FBB-4BAE-8E11-C98715716641}" type="slidenum">
              <a:rPr lang="en-US" noProof="0" smtClean="0"/>
              <a:t>12</a:t>
            </a:fld>
            <a:endParaRPr lang="en-US" noProof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88239D6-D559-4930-8BEF-170CF45617F7}"/>
              </a:ext>
            </a:extLst>
          </p:cNvPr>
          <p:cNvSpPr txBox="1">
            <a:spLocks/>
          </p:cNvSpPr>
          <p:nvPr/>
        </p:nvSpPr>
        <p:spPr bwMode="gray">
          <a:xfrm>
            <a:off x="207621" y="337882"/>
            <a:ext cx="4288180" cy="965025"/>
          </a:xfrm>
          <a:custGeom>
            <a:avLst/>
            <a:gdLst>
              <a:gd name="connsiteX0" fmla="*/ 0 w 4162735"/>
              <a:gd name="connsiteY0" fmla="*/ 0 h 2804145"/>
              <a:gd name="connsiteX1" fmla="*/ 4162735 w 4162735"/>
              <a:gd name="connsiteY1" fmla="*/ 0 h 2804145"/>
              <a:gd name="connsiteX2" fmla="*/ 4162735 w 4162735"/>
              <a:gd name="connsiteY2" fmla="*/ 2804145 h 2804145"/>
              <a:gd name="connsiteX3" fmla="*/ 0 w 4162735"/>
              <a:gd name="connsiteY3" fmla="*/ 2804145 h 2804145"/>
              <a:gd name="connsiteX4" fmla="*/ 0 w 4162735"/>
              <a:gd name="connsiteY4" fmla="*/ 0 h 2804145"/>
              <a:gd name="connsiteX0" fmla="*/ 0 w 4162735"/>
              <a:gd name="connsiteY0" fmla="*/ 0 h 2804145"/>
              <a:gd name="connsiteX1" fmla="*/ 4162735 w 4162735"/>
              <a:gd name="connsiteY1" fmla="*/ 0 h 2804145"/>
              <a:gd name="connsiteX2" fmla="*/ 4162735 w 4162735"/>
              <a:gd name="connsiteY2" fmla="*/ 2804145 h 2804145"/>
              <a:gd name="connsiteX3" fmla="*/ 171450 w 4162735"/>
              <a:gd name="connsiteY3" fmla="*/ 2800970 h 2804145"/>
              <a:gd name="connsiteX4" fmla="*/ 0 w 4162735"/>
              <a:gd name="connsiteY4" fmla="*/ 0 h 2804145"/>
              <a:gd name="connsiteX0" fmla="*/ 0 w 4162735"/>
              <a:gd name="connsiteY0" fmla="*/ 0 h 2800970"/>
              <a:gd name="connsiteX1" fmla="*/ 4162735 w 4162735"/>
              <a:gd name="connsiteY1" fmla="*/ 0 h 2800970"/>
              <a:gd name="connsiteX2" fmla="*/ 3988110 w 4162735"/>
              <a:gd name="connsiteY2" fmla="*/ 2645395 h 2800970"/>
              <a:gd name="connsiteX3" fmla="*/ 171450 w 4162735"/>
              <a:gd name="connsiteY3" fmla="*/ 2800970 h 2800970"/>
              <a:gd name="connsiteX4" fmla="*/ 0 w 4162735"/>
              <a:gd name="connsiteY4" fmla="*/ 0 h 280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2735" h="2800970">
                <a:moveTo>
                  <a:pt x="0" y="0"/>
                </a:moveTo>
                <a:lnTo>
                  <a:pt x="4162735" y="0"/>
                </a:lnTo>
                <a:lnTo>
                  <a:pt x="3988110" y="2645395"/>
                </a:lnTo>
                <a:lnTo>
                  <a:pt x="171450" y="280097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tx1"/>
              </a:gs>
            </a:gsLst>
            <a:lin ang="0" scaled="0"/>
            <a:tileRect/>
          </a:gradFill>
        </p:spPr>
        <p:txBody>
          <a:bodyPr lIns="576000" tIns="414000" rIns="144000" anchor="t"/>
          <a:lstStyle>
            <a:lvl1pPr algn="l" defTabSz="1219170" rtl="0" eaLnBrk="1" latinLnBrk="0" hangingPunct="1">
              <a:lnSpc>
                <a:spcPct val="88000"/>
              </a:lnSpc>
              <a:spcBef>
                <a:spcPts val="0"/>
              </a:spcBef>
              <a:buNone/>
              <a:defRPr sz="32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Brainstorm</a:t>
            </a:r>
            <a:endParaRPr lang="en-US" dirty="0"/>
          </a:p>
        </p:txBody>
      </p:sp>
      <p:sp>
        <p:nvSpPr>
          <p:cNvPr id="10" name="Cloud 9"/>
          <p:cNvSpPr/>
          <p:nvPr/>
        </p:nvSpPr>
        <p:spPr>
          <a:xfrm>
            <a:off x="5120641" y="2975602"/>
            <a:ext cx="2941320" cy="1407134"/>
          </a:xfrm>
          <a:prstGeom prst="cloud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200" dirty="0"/>
              <a:t>How </a:t>
            </a:r>
            <a:r>
              <a:rPr lang="nl-NL" sz="2200" dirty="0" err="1"/>
              <a:t>can</a:t>
            </a:r>
            <a:r>
              <a:rPr lang="nl-NL" sz="2200" dirty="0"/>
              <a:t> I </a:t>
            </a:r>
            <a:r>
              <a:rPr lang="nl-NL" sz="2200" dirty="0" smtClean="0"/>
              <a:t>get </a:t>
            </a:r>
            <a:r>
              <a:rPr lang="nl-NL" sz="2200" dirty="0" err="1" smtClean="0"/>
              <a:t>the</a:t>
            </a:r>
            <a:r>
              <a:rPr lang="nl-NL" sz="2200" dirty="0" smtClean="0"/>
              <a:t> </a:t>
            </a:r>
            <a:r>
              <a:rPr lang="nl-NL" sz="2200" dirty="0" err="1"/>
              <a:t>cheapest</a:t>
            </a:r>
            <a:r>
              <a:rPr lang="nl-NL" sz="2200" dirty="0"/>
              <a:t> parking spot</a:t>
            </a:r>
            <a:r>
              <a:rPr lang="nl-NL" sz="2200" dirty="0" smtClean="0"/>
              <a:t>?</a:t>
            </a:r>
            <a:endParaRPr lang="nl-NL" sz="2200" dirty="0"/>
          </a:p>
        </p:txBody>
      </p:sp>
      <p:sp>
        <p:nvSpPr>
          <p:cNvPr id="18" name="Cloud 17"/>
          <p:cNvSpPr/>
          <p:nvPr/>
        </p:nvSpPr>
        <p:spPr>
          <a:xfrm>
            <a:off x="5702152" y="298832"/>
            <a:ext cx="3815686" cy="1990817"/>
          </a:xfrm>
          <a:prstGeom prst="cloud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/>
              <a:t>Where can </a:t>
            </a:r>
            <a:r>
              <a:rPr lang="en-US" sz="2200" dirty="0" smtClean="0"/>
              <a:t>I find </a:t>
            </a:r>
            <a:r>
              <a:rPr lang="en-US" sz="2200" dirty="0"/>
              <a:t>garage with available parking?</a:t>
            </a:r>
          </a:p>
        </p:txBody>
      </p:sp>
      <p:sp>
        <p:nvSpPr>
          <p:cNvPr id="19" name="Cloud 18"/>
          <p:cNvSpPr/>
          <p:nvPr/>
        </p:nvSpPr>
        <p:spPr>
          <a:xfrm>
            <a:off x="9635725" y="1939262"/>
            <a:ext cx="2176928" cy="1645122"/>
          </a:xfrm>
          <a:prstGeom prst="cloud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/>
              <a:t>How can we reduce the CO2?</a:t>
            </a:r>
          </a:p>
        </p:txBody>
      </p:sp>
      <p:sp>
        <p:nvSpPr>
          <p:cNvPr id="21" name="Cloud 20"/>
          <p:cNvSpPr/>
          <p:nvPr/>
        </p:nvSpPr>
        <p:spPr>
          <a:xfrm>
            <a:off x="1630681" y="4454597"/>
            <a:ext cx="3489960" cy="1790237"/>
          </a:xfrm>
          <a:prstGeom prst="cloud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/>
              <a:t>How do I ensure that I’m not going to get fine?</a:t>
            </a:r>
          </a:p>
        </p:txBody>
      </p:sp>
      <p:sp>
        <p:nvSpPr>
          <p:cNvPr id="22" name="Cloud 21"/>
          <p:cNvSpPr/>
          <p:nvPr/>
        </p:nvSpPr>
        <p:spPr>
          <a:xfrm>
            <a:off x="316007" y="1721500"/>
            <a:ext cx="3368039" cy="1589641"/>
          </a:xfrm>
          <a:prstGeom prst="cloud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/>
              <a:t>Where is the nearest charging station?</a:t>
            </a:r>
          </a:p>
        </p:txBody>
      </p:sp>
      <p:sp>
        <p:nvSpPr>
          <p:cNvPr id="23" name="Cloud 22"/>
          <p:cNvSpPr/>
          <p:nvPr/>
        </p:nvSpPr>
        <p:spPr>
          <a:xfrm>
            <a:off x="8338302" y="4121129"/>
            <a:ext cx="3613901" cy="2015734"/>
          </a:xfrm>
          <a:prstGeom prst="cloud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/>
              <a:t>How to optimize parking for autonomous cars?</a:t>
            </a:r>
          </a:p>
        </p:txBody>
      </p:sp>
    </p:spTree>
    <p:extLst>
      <p:ext uri="{BB962C8B-B14F-4D97-AF65-F5344CB8AC3E}">
        <p14:creationId xmlns:p14="http://schemas.microsoft.com/office/powerpoint/2010/main" val="78370540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8" grpId="0" animBg="1"/>
      <p:bldP spid="19" grpId="0" animBg="1"/>
      <p:bldP spid="21" grpId="0" animBg="1"/>
      <p:bldP spid="22" grpId="0" animBg="1"/>
      <p:bldP spid="2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 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66470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nk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127501" y="2112392"/>
            <a:ext cx="6000948" cy="511125"/>
          </a:xfrm>
        </p:spPr>
        <p:txBody>
          <a:bodyPr/>
          <a:lstStyle/>
          <a:p>
            <a:r>
              <a:rPr lang="en-US" dirty="0" err="1" smtClean="0"/>
              <a:t>Github</a:t>
            </a:r>
            <a:r>
              <a:rPr lang="en-US" dirty="0" smtClean="0"/>
              <a:t> - </a:t>
            </a:r>
            <a:r>
              <a:rPr lang="nl-NL" dirty="0" smtClean="0"/>
              <a:t>https://github.com/ParkmobileHackatrain/2019/ 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127501" y="2560320"/>
            <a:ext cx="4464777" cy="1802699"/>
          </a:xfrm>
        </p:spPr>
        <p:txBody>
          <a:bodyPr/>
          <a:lstStyle/>
          <a:p>
            <a:r>
              <a:rPr lang="en-US" dirty="0" smtClean="0"/>
              <a:t>Here you can find :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ostman coll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formation about the API ope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formation about config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X-</a:t>
            </a:r>
            <a:r>
              <a:rPr lang="en-US" dirty="0" err="1" smtClean="0"/>
              <a:t>Api</a:t>
            </a:r>
            <a:r>
              <a:rPr lang="en-US" dirty="0" smtClean="0"/>
              <a:t>-K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3901834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rci">
            <a:extLst>
              <a:ext uri="{FF2B5EF4-FFF2-40B4-BE49-F238E27FC236}">
                <a16:creationId xmlns:a16="http://schemas.microsoft.com/office/drawing/2014/main" id="{0451C74F-FAED-4A0E-94B9-06E89AF5BF5D}"/>
              </a:ext>
            </a:extLst>
          </p:cNvPr>
          <p:cNvSpPr txBox="1">
            <a:spLocks/>
          </p:cNvSpPr>
          <p:nvPr/>
        </p:nvSpPr>
        <p:spPr bwMode="gray">
          <a:xfrm>
            <a:off x="5210211" y="2402395"/>
            <a:ext cx="1590380" cy="82464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4000" b="1" kern="1200" cap="all" spc="0" baseline="0">
                <a:solidFill>
                  <a:srgbClr val="FFFFFF"/>
                </a:solidFill>
                <a:latin typeface="Neo Sans Std"/>
                <a:ea typeface="Neo Sans Std"/>
                <a:cs typeface="Neo Sans Std"/>
                <a:sym typeface="Neo Sans Std"/>
              </a:defRPr>
            </a:lvl1pPr>
          </a:lstStyle>
          <a:p>
            <a:pPr algn="ctr"/>
            <a:r>
              <a:rPr lang="nl-NL" sz="2400" dirty="0"/>
              <a:t>THANK YOU</a:t>
            </a:r>
          </a:p>
        </p:txBody>
      </p:sp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90C23D04-2C4A-4E61-A279-4679EC519D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618126" y="3227043"/>
            <a:ext cx="774549" cy="77454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4586554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repeatCount="2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300000">
                                      <p:cBhvr>
                                        <p:cTn id="6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600000">
                                      <p:cBhvr>
                                        <p:cTn id="7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600000">
                                      <p:cBhvr>
                                        <p:cTn id="8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600000">
                                      <p:cBhvr>
                                        <p:cTn id="9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300000">
                                      <p:cBhvr>
                                        <p:cTn id="10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 advAuto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techcrunch.com/wp-content/uploads/2019/02/EN_181129_Daimler_BMW_Infographics_Quadratisch_S5.png">
            <a:extLst>
              <a:ext uri="{FF2B5EF4-FFF2-40B4-BE49-F238E27FC236}">
                <a16:creationId xmlns:a16="http://schemas.microsoft.com/office/drawing/2014/main" id="{C91D034B-71A2-4A18-8E05-2F706515C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666679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Placeholder 38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62" r="11462"/>
          <a:stretch>
            <a:fillRect/>
          </a:stretch>
        </p:blipFill>
        <p:spPr>
          <a:xfrm>
            <a:off x="0" y="1844674"/>
            <a:ext cx="12192000" cy="5013326"/>
          </a:xfrm>
        </p:spPr>
      </p:pic>
      <p:sp>
        <p:nvSpPr>
          <p:cNvPr id="47" name="Rectangle 46"/>
          <p:cNvSpPr/>
          <p:nvPr/>
        </p:nvSpPr>
        <p:spPr>
          <a:xfrm>
            <a:off x="0" y="1843970"/>
            <a:ext cx="12192000" cy="441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GB" sz="1799" dirty="0">
              <a:solidFill>
                <a:prstClr val="white"/>
              </a:solidFill>
              <a:latin typeface="Akkurat Pro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51805" y="663164"/>
            <a:ext cx="11038386" cy="493711"/>
          </a:xfrm>
        </p:spPr>
        <p:txBody>
          <a:bodyPr/>
          <a:lstStyle/>
          <a:p>
            <a:r>
              <a:rPr lang="en-GB" dirty="0" smtClean="0"/>
              <a:t>WHO WE ARE</a:t>
            </a:r>
            <a:endParaRPr lang="en-GB" dirty="0"/>
          </a:p>
        </p:txBody>
      </p:sp>
      <p:sp>
        <p:nvSpPr>
          <p:cNvPr id="18" name="Rectangle 17"/>
          <p:cNvSpPr/>
          <p:nvPr/>
        </p:nvSpPr>
        <p:spPr>
          <a:xfrm rot="16200000" flipH="1">
            <a:off x="4535438" y="-2346430"/>
            <a:ext cx="3121124" cy="12192001"/>
          </a:xfrm>
          <a:prstGeom prst="rect">
            <a:avLst/>
          </a:prstGeom>
          <a:gradFill flip="none" rotWithShape="1">
            <a:gsLst>
              <a:gs pos="9000">
                <a:schemeClr val="bg1"/>
              </a:gs>
              <a:gs pos="44000">
                <a:schemeClr val="bg1">
                  <a:alpha val="80000"/>
                </a:schemeClr>
              </a:gs>
              <a:gs pos="83000">
                <a:schemeClr val="bg1">
                  <a:alpha val="39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de-DE" sz="1799" dirty="0">
              <a:solidFill>
                <a:prstClr val="white"/>
              </a:solidFill>
              <a:latin typeface="Akkurat Pro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415119" y="1469369"/>
            <a:ext cx="3663396" cy="374602"/>
            <a:chOff x="2347428" y="2195478"/>
            <a:chExt cx="5297714" cy="533082"/>
          </a:xfrm>
          <a:solidFill>
            <a:schemeClr val="accent1"/>
          </a:solidFill>
        </p:grpSpPr>
        <p:sp>
          <p:nvSpPr>
            <p:cNvPr id="10" name="Parallelogram 9"/>
            <p:cNvSpPr/>
            <p:nvPr/>
          </p:nvSpPr>
          <p:spPr>
            <a:xfrm flipH="1">
              <a:off x="2347428" y="2199696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11" name="Parallelogram 10"/>
            <p:cNvSpPr/>
            <p:nvPr/>
          </p:nvSpPr>
          <p:spPr>
            <a:xfrm flipH="1">
              <a:off x="3226058" y="2195478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r>
                <a:rPr lang="en-US" sz="1400" b="1" dirty="0"/>
                <a:t>Maksym </a:t>
              </a:r>
              <a:r>
                <a:rPr lang="en-US" sz="1400" b="1" dirty="0" smtClean="0"/>
                <a:t>Koloshnyi</a:t>
              </a:r>
              <a:endParaRPr lang="en-US" sz="1400" b="1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15119" y="1969163"/>
            <a:ext cx="3663396" cy="374602"/>
            <a:chOff x="2347428" y="2195478"/>
            <a:chExt cx="5297714" cy="533082"/>
          </a:xfrm>
          <a:solidFill>
            <a:schemeClr val="accent1"/>
          </a:solidFill>
        </p:grpSpPr>
        <p:sp>
          <p:nvSpPr>
            <p:cNvPr id="13" name="Parallelogram 12"/>
            <p:cNvSpPr/>
            <p:nvPr/>
          </p:nvSpPr>
          <p:spPr>
            <a:xfrm flipH="1">
              <a:off x="2347428" y="2199696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3226058" y="2195478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r>
                <a:rPr lang="en-US" sz="1400" b="1" dirty="0"/>
                <a:t>Fredrik </a:t>
              </a:r>
              <a:r>
                <a:rPr lang="en-US" sz="1400" b="1" dirty="0" err="1" smtClean="0"/>
                <a:t>Bonde</a:t>
              </a:r>
              <a:endParaRPr lang="en-US" sz="1400" b="1" dirty="0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078515" y="1468665"/>
            <a:ext cx="3663396" cy="374602"/>
            <a:chOff x="2347428" y="2195478"/>
            <a:chExt cx="5297714" cy="533082"/>
          </a:xfrm>
          <a:solidFill>
            <a:schemeClr val="accent1"/>
          </a:solidFill>
        </p:grpSpPr>
        <p:sp>
          <p:nvSpPr>
            <p:cNvPr id="16" name="Parallelogram 15"/>
            <p:cNvSpPr/>
            <p:nvPr/>
          </p:nvSpPr>
          <p:spPr>
            <a:xfrm flipH="1">
              <a:off x="2347428" y="2199696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17" name="Parallelogram 16"/>
            <p:cNvSpPr/>
            <p:nvPr/>
          </p:nvSpPr>
          <p:spPr>
            <a:xfrm flipH="1">
              <a:off x="3226058" y="2195478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r>
                <a:rPr lang="en-US" sz="1400" b="1" dirty="0" smtClean="0"/>
                <a:t>Yohanes Chandra</a:t>
              </a:r>
              <a:endParaRPr lang="en-US" sz="1400" b="1" dirty="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4264302" y="1969163"/>
            <a:ext cx="3663396" cy="374602"/>
            <a:chOff x="2347428" y="2195478"/>
            <a:chExt cx="5297714" cy="533082"/>
          </a:xfrm>
          <a:solidFill>
            <a:schemeClr val="accent1"/>
          </a:solidFill>
        </p:grpSpPr>
        <p:sp>
          <p:nvSpPr>
            <p:cNvPr id="20" name="Parallelogram 19"/>
            <p:cNvSpPr/>
            <p:nvPr/>
          </p:nvSpPr>
          <p:spPr>
            <a:xfrm flipH="1">
              <a:off x="2347428" y="2199696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21" name="Parallelogram 20"/>
            <p:cNvSpPr/>
            <p:nvPr/>
          </p:nvSpPr>
          <p:spPr>
            <a:xfrm flipH="1">
              <a:off x="3226058" y="2195478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r>
                <a:rPr lang="en-US" sz="1400" b="1" dirty="0" smtClean="0"/>
                <a:t>Hardik Yadav</a:t>
              </a:r>
              <a:endParaRPr lang="en-US" sz="1400" b="1" dirty="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7741911" y="1468664"/>
            <a:ext cx="3663396" cy="374602"/>
            <a:chOff x="2347428" y="2195478"/>
            <a:chExt cx="5297714" cy="533082"/>
          </a:xfrm>
          <a:solidFill>
            <a:schemeClr val="accent1"/>
          </a:solidFill>
        </p:grpSpPr>
        <p:sp>
          <p:nvSpPr>
            <p:cNvPr id="23" name="Parallelogram 22"/>
            <p:cNvSpPr/>
            <p:nvPr/>
          </p:nvSpPr>
          <p:spPr>
            <a:xfrm flipH="1">
              <a:off x="2347428" y="2199696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24" name="Parallelogram 23"/>
            <p:cNvSpPr/>
            <p:nvPr/>
          </p:nvSpPr>
          <p:spPr>
            <a:xfrm flipH="1">
              <a:off x="3226058" y="2195478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r>
                <a:rPr lang="en-US" sz="1400" b="1" dirty="0" err="1"/>
                <a:t>Rostyslav</a:t>
              </a:r>
              <a:r>
                <a:rPr lang="en-US" sz="1400" b="1" dirty="0"/>
                <a:t> </a:t>
              </a:r>
              <a:r>
                <a:rPr lang="en-US" sz="1400" b="1" dirty="0" err="1"/>
                <a:t>Skarbek</a:t>
              </a:r>
              <a:endParaRPr lang="en-US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18080590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 descr="Image result for berlin high res">
            <a:extLst>
              <a:ext uri="{FF2B5EF4-FFF2-40B4-BE49-F238E27FC236}">
                <a16:creationId xmlns:a16="http://schemas.microsoft.com/office/drawing/2014/main" id="{8D92037A-A395-499F-84F4-D3667772B3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191587"/>
            <a:ext cx="12192001" cy="76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/>
        </p:nvSpPr>
        <p:spPr>
          <a:xfrm>
            <a:off x="0" y="63838"/>
            <a:ext cx="8285496" cy="6370114"/>
          </a:xfrm>
          <a:prstGeom prst="rt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33" tIns="73133" rIns="73133" bIns="73133" rtlCol="0" anchor="ctr" anchorCtr="1"/>
          <a:lstStyle/>
          <a:p>
            <a:pPr algn="ctr"/>
            <a:endParaRPr lang="en-CA" sz="1000" kern="0" dirty="0" err="1">
              <a:solidFill>
                <a:schemeClr val="tx1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1975403" y="1990487"/>
            <a:ext cx="5296335" cy="532943"/>
            <a:chOff x="2347428" y="2195478"/>
            <a:chExt cx="5297714" cy="533082"/>
          </a:xfrm>
          <a:solidFill>
            <a:schemeClr val="accent1"/>
          </a:solidFill>
        </p:grpSpPr>
        <p:sp>
          <p:nvSpPr>
            <p:cNvPr id="13" name="Parallelogram 12"/>
            <p:cNvSpPr/>
            <p:nvPr/>
          </p:nvSpPr>
          <p:spPr>
            <a:xfrm flipH="1">
              <a:off x="2347428" y="2199696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3226058" y="2195478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000" kern="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306997" y="2993113"/>
            <a:ext cx="5296335" cy="532943"/>
            <a:chOff x="3679369" y="3198365"/>
            <a:chExt cx="5297714" cy="533082"/>
          </a:xfrm>
          <a:solidFill>
            <a:schemeClr val="accent1"/>
          </a:solidFill>
        </p:grpSpPr>
        <p:sp>
          <p:nvSpPr>
            <p:cNvPr id="15" name="Parallelogram 14"/>
            <p:cNvSpPr/>
            <p:nvPr/>
          </p:nvSpPr>
          <p:spPr>
            <a:xfrm flipH="1">
              <a:off x="3679369" y="3202583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16" name="Parallelogram 15"/>
            <p:cNvSpPr/>
            <p:nvPr/>
          </p:nvSpPr>
          <p:spPr>
            <a:xfrm flipH="1">
              <a:off x="4557999" y="3198365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000" kern="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647091" y="3564528"/>
            <a:ext cx="1779333" cy="55387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3599" kern="0" dirty="0" smtClean="0">
                <a:solidFill>
                  <a:schemeClr val="bg1"/>
                </a:solidFill>
              </a:rPr>
              <a:t>AGENDA</a:t>
            </a:r>
            <a:endParaRPr lang="en-CA" sz="3599" kern="0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969564" y="4467333"/>
            <a:ext cx="2684443" cy="0"/>
          </a:xfrm>
          <a:prstGeom prst="line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3547441" y="2059864"/>
            <a:ext cx="1005083" cy="338426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CA" sz="2199" b="1" kern="0" dirty="0" smtClean="0">
                <a:solidFill>
                  <a:schemeClr val="bg1">
                    <a:lumMod val="95000"/>
                  </a:schemeClr>
                </a:solidFill>
              </a:rPr>
              <a:t>Services</a:t>
            </a:r>
            <a:endParaRPr lang="en-CA" sz="2199" b="1" kern="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890390" y="3065074"/>
            <a:ext cx="1489190" cy="3384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2199" b="1" kern="0" dirty="0" smtClean="0">
                <a:solidFill>
                  <a:schemeClr val="bg1">
                    <a:lumMod val="95000"/>
                  </a:schemeClr>
                </a:solidFill>
              </a:rPr>
              <a:t>Demo Time!</a:t>
            </a:r>
            <a:endParaRPr lang="en-CA" sz="2199" b="1" kern="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4556985" y="3995739"/>
            <a:ext cx="5296335" cy="532943"/>
            <a:chOff x="3679369" y="3198365"/>
            <a:chExt cx="5297714" cy="533082"/>
          </a:xfrm>
          <a:solidFill>
            <a:schemeClr val="accent1"/>
          </a:solidFill>
        </p:grpSpPr>
        <p:sp>
          <p:nvSpPr>
            <p:cNvPr id="19" name="Parallelogram 18"/>
            <p:cNvSpPr/>
            <p:nvPr/>
          </p:nvSpPr>
          <p:spPr>
            <a:xfrm flipH="1">
              <a:off x="3679369" y="3202583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 flipH="1">
              <a:off x="4557999" y="3198365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000" kern="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6576027" y="4092997"/>
            <a:ext cx="1245534" cy="3384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2199" b="1" kern="0" dirty="0" smtClean="0">
                <a:solidFill>
                  <a:schemeClr val="bg1">
                    <a:lumMod val="95000"/>
                  </a:schemeClr>
                </a:solidFill>
              </a:rPr>
              <a:t>Workshop</a:t>
            </a:r>
            <a:endParaRPr lang="en-CA" sz="2199" b="1" kern="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5796247" y="5245625"/>
            <a:ext cx="5296335" cy="532943"/>
            <a:chOff x="2347428" y="2195478"/>
            <a:chExt cx="5297714" cy="533082"/>
          </a:xfrm>
          <a:solidFill>
            <a:schemeClr val="accent1"/>
          </a:solidFill>
        </p:grpSpPr>
        <p:sp>
          <p:nvSpPr>
            <p:cNvPr id="25" name="Parallelogram 24"/>
            <p:cNvSpPr/>
            <p:nvPr/>
          </p:nvSpPr>
          <p:spPr>
            <a:xfrm flipH="1">
              <a:off x="2347428" y="2199696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29" name="Parallelogram 28"/>
            <p:cNvSpPr/>
            <p:nvPr/>
          </p:nvSpPr>
          <p:spPr>
            <a:xfrm flipH="1">
              <a:off x="3226058" y="2195478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000" kern="0" dirty="0">
                <a:solidFill>
                  <a:schemeClr val="tx1"/>
                </a:solidFill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8112464" y="5342883"/>
            <a:ext cx="1308050" cy="3384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2199" b="1" kern="0" dirty="0" smtClean="0">
                <a:solidFill>
                  <a:schemeClr val="bg1">
                    <a:lumMod val="95000"/>
                  </a:schemeClr>
                </a:solidFill>
              </a:rPr>
              <a:t>Question ?</a:t>
            </a:r>
            <a:endParaRPr lang="en-CA" sz="2199" b="1" kern="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2003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ight Triangle 10"/>
          <p:cNvSpPr/>
          <p:nvPr/>
        </p:nvSpPr>
        <p:spPr>
          <a:xfrm>
            <a:off x="0" y="0"/>
            <a:ext cx="6240780" cy="6424148"/>
          </a:xfrm>
          <a:prstGeom prst="rt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33" tIns="73133" rIns="73133" bIns="73133" rtlCol="0" anchor="ctr" anchorCtr="1"/>
          <a:lstStyle/>
          <a:p>
            <a:pPr algn="ctr"/>
            <a:endParaRPr lang="en-CA" sz="1000" kern="0" dirty="0" err="1">
              <a:solidFill>
                <a:schemeClr val="tx1"/>
              </a:solidFill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1063299" y="886038"/>
            <a:ext cx="5296335" cy="532943"/>
            <a:chOff x="1248229" y="1221935"/>
            <a:chExt cx="5297714" cy="533082"/>
          </a:xfrm>
          <a:solidFill>
            <a:schemeClr val="accent1"/>
          </a:solidFill>
        </p:grpSpPr>
        <p:sp>
          <p:nvSpPr>
            <p:cNvPr id="8" name="Parallelogram 7"/>
            <p:cNvSpPr/>
            <p:nvPr/>
          </p:nvSpPr>
          <p:spPr>
            <a:xfrm flipH="1">
              <a:off x="1248229" y="1226153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9" name="Parallelogram 8"/>
            <p:cNvSpPr/>
            <p:nvPr/>
          </p:nvSpPr>
          <p:spPr>
            <a:xfrm flipH="1">
              <a:off x="2126859" y="1221935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000" kern="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2162212" y="1859328"/>
            <a:ext cx="5296335" cy="532942"/>
            <a:chOff x="2347428" y="2195479"/>
            <a:chExt cx="5297714" cy="533081"/>
          </a:xfrm>
          <a:solidFill>
            <a:schemeClr val="accent1"/>
          </a:solidFill>
        </p:grpSpPr>
        <p:sp>
          <p:nvSpPr>
            <p:cNvPr id="13" name="Parallelogram 12"/>
            <p:cNvSpPr/>
            <p:nvPr/>
          </p:nvSpPr>
          <p:spPr>
            <a:xfrm flipH="1">
              <a:off x="2347428" y="2199696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14" name="Parallelogram 13"/>
            <p:cNvSpPr/>
            <p:nvPr/>
          </p:nvSpPr>
          <p:spPr>
            <a:xfrm flipH="1">
              <a:off x="3226058" y="2195479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000" kern="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493806" y="2861953"/>
            <a:ext cx="5296335" cy="532943"/>
            <a:chOff x="3679369" y="3198365"/>
            <a:chExt cx="5297714" cy="533082"/>
          </a:xfrm>
          <a:solidFill>
            <a:schemeClr val="accent1"/>
          </a:solidFill>
        </p:grpSpPr>
        <p:sp>
          <p:nvSpPr>
            <p:cNvPr id="15" name="Parallelogram 14"/>
            <p:cNvSpPr/>
            <p:nvPr/>
          </p:nvSpPr>
          <p:spPr>
            <a:xfrm flipH="1">
              <a:off x="3679369" y="3202583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16" name="Parallelogram 15"/>
            <p:cNvSpPr/>
            <p:nvPr/>
          </p:nvSpPr>
          <p:spPr>
            <a:xfrm flipH="1">
              <a:off x="4557999" y="3198365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000" kern="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969564" y="3905875"/>
            <a:ext cx="1575752" cy="55387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3599" kern="0" dirty="0" smtClean="0">
                <a:solidFill>
                  <a:schemeClr val="bg1"/>
                </a:solidFill>
              </a:rPr>
              <a:t>Services</a:t>
            </a:r>
            <a:endParaRPr lang="en-CA" sz="3599" kern="0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969564" y="4531987"/>
            <a:ext cx="2684443" cy="0"/>
          </a:xfrm>
          <a:prstGeom prst="line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2591463" y="956522"/>
            <a:ext cx="1115690" cy="3384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2199" kern="0" dirty="0" smtClean="0">
                <a:solidFill>
                  <a:schemeClr val="bg1">
                    <a:lumMod val="95000"/>
                  </a:schemeClr>
                </a:solidFill>
              </a:rPr>
              <a:t>Inventory</a:t>
            </a:r>
            <a:endParaRPr lang="en-CA" sz="2199" kern="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707708" y="1931665"/>
            <a:ext cx="657231" cy="338426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CA" sz="2199" kern="0" dirty="0" smtClean="0">
                <a:solidFill>
                  <a:schemeClr val="bg1">
                    <a:lumMod val="95000"/>
                  </a:schemeClr>
                </a:solidFill>
              </a:rPr>
              <a:t>Rates</a:t>
            </a:r>
            <a:endParaRPr lang="en-CA" sz="2199" kern="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050657" y="2936875"/>
            <a:ext cx="894476" cy="3384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2199" kern="0" dirty="0" smtClean="0">
                <a:solidFill>
                  <a:schemeClr val="bg1">
                    <a:lumMod val="95000"/>
                  </a:schemeClr>
                </a:solidFill>
              </a:rPr>
              <a:t>Parking</a:t>
            </a:r>
            <a:endParaRPr lang="en-CA" sz="2199" kern="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4677208" y="3926802"/>
            <a:ext cx="5296335" cy="532943"/>
            <a:chOff x="3679369" y="3198365"/>
            <a:chExt cx="5297714" cy="533082"/>
          </a:xfrm>
          <a:solidFill>
            <a:schemeClr val="accent1"/>
          </a:solidFill>
        </p:grpSpPr>
        <p:sp>
          <p:nvSpPr>
            <p:cNvPr id="19" name="Parallelogram 18"/>
            <p:cNvSpPr/>
            <p:nvPr/>
          </p:nvSpPr>
          <p:spPr>
            <a:xfrm flipH="1">
              <a:off x="3679369" y="3202583"/>
              <a:ext cx="1509484" cy="528864"/>
            </a:xfrm>
            <a:prstGeom prst="parallelogram">
              <a:avLst>
                <a:gd name="adj" fmla="val 130424"/>
              </a:avLst>
            </a:prstGeom>
            <a:grp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999" kern="0" dirty="0">
                <a:solidFill>
                  <a:schemeClr val="bg1"/>
                </a:solidFill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 flipH="1">
              <a:off x="4557999" y="3198365"/>
              <a:ext cx="4419084" cy="533081"/>
            </a:xfrm>
            <a:prstGeom prst="parallelogram">
              <a:avLst>
                <a:gd name="adj" fmla="val 130424"/>
              </a:avLst>
            </a:prstGeom>
            <a:grp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33" tIns="73133" rIns="73133" bIns="73133" rtlCol="0" anchor="ctr" anchorCtr="1"/>
            <a:lstStyle/>
            <a:p>
              <a:pPr algn="ctr"/>
              <a:endParaRPr lang="en-CA" sz="1000" kern="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7064700" y="4024060"/>
            <a:ext cx="1526059" cy="3384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2199" kern="0" dirty="0" smtClean="0">
                <a:solidFill>
                  <a:schemeClr val="bg1">
                    <a:lumMod val="95000"/>
                  </a:schemeClr>
                </a:solidFill>
              </a:rPr>
              <a:t>And more…..</a:t>
            </a:r>
            <a:endParaRPr lang="en-CA" sz="2199" kern="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79706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1072896"/>
            <a:ext cx="11271504" cy="579907"/>
          </a:xfrm>
          <a:solidFill>
            <a:srgbClr val="00527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      Inventory</a:t>
            </a:r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204020" y="2111664"/>
            <a:ext cx="8159749" cy="3562813"/>
          </a:xfrm>
        </p:spPr>
        <p:txBody>
          <a:bodyPr/>
          <a:lstStyle/>
          <a:p>
            <a:pPr marL="0" indent="0"/>
            <a:r>
              <a:rPr lang="en-IN" sz="2800" dirty="0" smtClean="0"/>
              <a:t>Our inventory service provides access to various  on-and off-street parking locations </a:t>
            </a:r>
            <a:r>
              <a:rPr lang="en-IN" sz="2800" dirty="0"/>
              <a:t>as well as </a:t>
            </a:r>
            <a:r>
              <a:rPr lang="en-IN" sz="2800" dirty="0" smtClean="0"/>
              <a:t>other </a:t>
            </a:r>
            <a:r>
              <a:rPr lang="en-IN" sz="2800" dirty="0"/>
              <a:t>points of interest that </a:t>
            </a:r>
            <a:r>
              <a:rPr lang="en-IN" sz="2800" dirty="0" smtClean="0"/>
              <a:t>are </a:t>
            </a:r>
            <a:r>
              <a:rPr lang="en-IN" sz="2800" dirty="0"/>
              <a:t>relevant to our </a:t>
            </a:r>
            <a:r>
              <a:rPr lang="en-IN" sz="2800" dirty="0" smtClean="0"/>
              <a:t>customers</a:t>
            </a:r>
            <a:r>
              <a:rPr lang="en-IN" sz="2800" b="1" dirty="0" smtClean="0"/>
              <a:t>.</a:t>
            </a:r>
          </a:p>
          <a:p>
            <a:pPr marL="0" indent="0"/>
            <a:endParaRPr lang="en-IN" dirty="0" smtClean="0"/>
          </a:p>
        </p:txBody>
      </p:sp>
      <p:sp>
        <p:nvSpPr>
          <p:cNvPr id="7" name="Rectangle 6"/>
          <p:cNvSpPr/>
          <p:nvPr/>
        </p:nvSpPr>
        <p:spPr>
          <a:xfrm>
            <a:off x="6400800" y="3177540"/>
            <a:ext cx="4899660" cy="2862697"/>
          </a:xfrm>
          <a:prstGeom prst="rect">
            <a:avLst/>
          </a:prstGeom>
          <a:blipFill dpi="0" rotWithShape="1">
            <a:blip r:embed="rId3">
              <a:alphaModFix amt="64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</p:spTree>
    <p:extLst>
      <p:ext uri="{BB962C8B-B14F-4D97-AF65-F5344CB8AC3E}">
        <p14:creationId xmlns:p14="http://schemas.microsoft.com/office/powerpoint/2010/main" val="297477052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937684" y="1607589"/>
            <a:ext cx="8159749" cy="49553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IN" sz="2800" dirty="0"/>
              <a:t>Inventory </a:t>
            </a:r>
            <a:r>
              <a:rPr lang="en-IN" sz="2800" dirty="0" smtClean="0"/>
              <a:t>consists </a:t>
            </a:r>
            <a:r>
              <a:rPr lang="en-IN" sz="2800" dirty="0"/>
              <a:t>of POIs (Points of Interest</a:t>
            </a:r>
            <a:r>
              <a:rPr lang="en-IN" sz="2800" dirty="0" smtClean="0"/>
              <a:t>)</a:t>
            </a:r>
            <a:endParaRPr lang="en-IN" sz="2800" dirty="0" smtClean="0"/>
          </a:p>
        </p:txBody>
      </p:sp>
      <p:sp>
        <p:nvSpPr>
          <p:cNvPr id="7" name="Title 1"/>
          <p:cNvSpPr txBox="1">
            <a:spLocks/>
          </p:cNvSpPr>
          <p:nvPr/>
        </p:nvSpPr>
        <p:spPr bwMode="gray">
          <a:xfrm>
            <a:off x="413343" y="919682"/>
            <a:ext cx="11271504" cy="579907"/>
          </a:xfrm>
          <a:prstGeom prst="rect">
            <a:avLst/>
          </a:prstGeom>
          <a:solidFill>
            <a:srgbClr val="005272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all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      Inventory</a:t>
            </a:r>
            <a:r>
              <a:rPr lang="en-US" dirty="0" smtClean="0">
                <a:solidFill>
                  <a:schemeClr val="bg1"/>
                </a:solidFill>
              </a:rPr>
              <a:t/>
            </a:r>
            <a:br>
              <a:rPr lang="en-US" dirty="0" smtClean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807406808"/>
              </p:ext>
            </p:extLst>
          </p:nvPr>
        </p:nvGraphicFramePr>
        <p:xfrm>
          <a:off x="1051984" y="2171699"/>
          <a:ext cx="5127836" cy="3787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430790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/>
          <p:cNvSpPr/>
          <p:nvPr/>
        </p:nvSpPr>
        <p:spPr>
          <a:xfrm>
            <a:off x="7178040" y="1718512"/>
            <a:ext cx="4006526" cy="4004107"/>
          </a:xfrm>
          <a:prstGeom prst="ellipse">
            <a:avLst/>
          </a:prstGeom>
          <a:blipFill>
            <a:blip r:embed="rId3">
              <a:alphaModFix amt="86000"/>
            </a:blip>
            <a:stretch>
              <a:fillRect l="-5183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413343" y="919682"/>
            <a:ext cx="11271504" cy="579907"/>
          </a:xfrm>
          <a:prstGeom prst="rect">
            <a:avLst/>
          </a:prstGeom>
          <a:solidFill>
            <a:srgbClr val="005272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all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      Inventory</a:t>
            </a:r>
            <a:r>
              <a:rPr lang="en-US" dirty="0" smtClean="0">
                <a:solidFill>
                  <a:schemeClr val="bg1"/>
                </a:solidFill>
              </a:rPr>
              <a:t/>
            </a:r>
            <a:br>
              <a:rPr lang="en-US" dirty="0" smtClean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7-Point Star 11"/>
          <p:cNvSpPr/>
          <p:nvPr/>
        </p:nvSpPr>
        <p:spPr>
          <a:xfrm rot="591129">
            <a:off x="9455574" y="1828567"/>
            <a:ext cx="1410547" cy="1440411"/>
          </a:xfrm>
          <a:prstGeom prst="star7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graphicFrame>
        <p:nvGraphicFramePr>
          <p:cNvPr id="18" name="Diagram 17"/>
          <p:cNvGraphicFramePr/>
          <p:nvPr>
            <p:extLst>
              <p:ext uri="{D42A27DB-BD31-4B8C-83A1-F6EECF244321}">
                <p14:modId xmlns:p14="http://schemas.microsoft.com/office/powerpoint/2010/main" val="1299637908"/>
              </p:ext>
            </p:extLst>
          </p:nvPr>
        </p:nvGraphicFramePr>
        <p:xfrm>
          <a:off x="1066800" y="2232660"/>
          <a:ext cx="5603240" cy="26940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3702779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02147-0FBB-4BAE-8E11-C98715716641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394461" y="2564563"/>
            <a:ext cx="9563100" cy="574877"/>
          </a:xfrm>
        </p:spPr>
        <p:txBody>
          <a:bodyPr/>
          <a:lstStyle/>
          <a:p>
            <a:r>
              <a:rPr lang="en-IN" sz="3000" b="1" dirty="0"/>
              <a:t>Calculate exact price for a given parking session and zone.</a:t>
            </a:r>
            <a:endParaRPr lang="en-US" sz="3000" b="1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gray">
          <a:xfrm>
            <a:off x="413343" y="919682"/>
            <a:ext cx="11271504" cy="579907"/>
          </a:xfrm>
          <a:prstGeom prst="rect">
            <a:avLst/>
          </a:prstGeom>
          <a:solidFill>
            <a:srgbClr val="005272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400" b="1" kern="1200" cap="all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       RATE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150" name="Picture 6" descr="Image result for gratis parkeren amsterda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9060" y="3589020"/>
            <a:ext cx="3367756" cy="1704330"/>
          </a:xfrm>
          <a:prstGeom prst="roundRect">
            <a:avLst>
              <a:gd name="adj" fmla="val 31231"/>
            </a:avLst>
          </a:prstGeom>
          <a:blipFill dpi="0" rotWithShape="1">
            <a:blip r:embed="rId4">
              <a:alphaModFix amt="51000"/>
            </a:blip>
            <a:srcRect/>
            <a:stretch>
              <a:fillRect l="-51836"/>
            </a:stretch>
          </a:blip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Text Placeholder 3"/>
          <p:cNvSpPr txBox="1">
            <a:spLocks/>
          </p:cNvSpPr>
          <p:nvPr/>
        </p:nvSpPr>
        <p:spPr bwMode="gray">
          <a:xfrm>
            <a:off x="945305" y="1949169"/>
            <a:ext cx="7634816" cy="5325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5591" indent="-355591" algn="l" defTabSz="1198003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355591" algn="l"/>
                <a:tab pos="8157429" algn="r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76239" indent="-234945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541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6709" indent="-241294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003" indent="-241294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IN" sz="2800" dirty="0" smtClean="0"/>
              <a:t>The Rates Service has a key responsibility:	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71056251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U6qO8UR7qrbtmRTW7eqQ"/>
</p:tagLst>
</file>

<file path=ppt/theme/theme1.xml><?xml version="1.0" encoding="utf-8"?>
<a:theme xmlns:a="http://schemas.openxmlformats.org/drawingml/2006/main" name="JURBEY">
  <a:themeElements>
    <a:clrScheme name="Benutzerdefiniert 166">
      <a:dk1>
        <a:srgbClr val="001E3E"/>
      </a:dk1>
      <a:lt1>
        <a:sysClr val="window" lastClr="FFFFFF"/>
      </a:lt1>
      <a:dk2>
        <a:srgbClr val="D8E3BD"/>
      </a:dk2>
      <a:lt2>
        <a:srgbClr val="BEDAD1"/>
      </a:lt2>
      <a:accent1>
        <a:srgbClr val="005478"/>
      </a:accent1>
      <a:accent2>
        <a:srgbClr val="337693"/>
      </a:accent2>
      <a:accent3>
        <a:srgbClr val="6698AE"/>
      </a:accent3>
      <a:accent4>
        <a:srgbClr val="99BBC9"/>
      </a:accent4>
      <a:accent5>
        <a:srgbClr val="CCDDE4"/>
      </a:accent5>
      <a:accent6>
        <a:srgbClr val="F9F192"/>
      </a:accent6>
      <a:hlink>
        <a:srgbClr val="001E3E"/>
      </a:hlink>
      <a:folHlink>
        <a:srgbClr val="001E3E"/>
      </a:folHlink>
    </a:clrScheme>
    <a:fontScheme name="Benutzerdefiniert 120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Light Intuitive Blue">
      <a:srgbClr val="E8F2EE"/>
    </a:custClr>
    <a:custClr name="Intuitive Blue">
      <a:srgbClr val="D2E1DD"/>
    </a:custClr>
    <a:custClr name="Agile Yellow">
      <a:srgbClr val="F9F192"/>
    </a:custClr>
    <a:custClr name="Urban Green">
      <a:srgbClr val="D8E3BD"/>
    </a:custClr>
    <a:custClr name="Vibrant Red">
      <a:srgbClr val="D27782"/>
    </a:custClr>
    <a:custClr name="Urban Jungle">
      <a:srgbClr val="94B9AE"/>
    </a:custClr>
    <a:custClr name="Light Agile Yellow">
      <a:srgbClr val="FDFBC7"/>
    </a:custClr>
    <a:custClr name="Light Urban Green">
      <a:srgbClr val="EFF5DF"/>
    </a:custClr>
    <a:custClr name="Light Vibrant Red">
      <a:srgbClr val="ECCDCE"/>
    </a:custClr>
    <a:custClr name="Light Urban Jungle">
      <a:srgbClr val="BEDAD1"/>
    </a:custClr>
  </a:custClrLst>
  <a:extLst>
    <a:ext uri="{05A4C25C-085E-4340-85A3-A5531E510DB2}">
      <thm15:themeFamily xmlns:thm15="http://schemas.microsoft.com/office/thememl/2012/main" name="181217_KITT_PPT_MAster" id="{1B171038-98C4-5B42-920F-DCBB9583CDFA}" vid="{BE7A44DF-0272-F748-A301-44AFF8457AF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76</TotalTime>
  <Words>296</Words>
  <Application>Microsoft Office PowerPoint</Application>
  <PresentationFormat>Widescreen</PresentationFormat>
  <Paragraphs>87</Paragraphs>
  <Slides>15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kkurat Pro</vt:lpstr>
      <vt:lpstr>Arial</vt:lpstr>
      <vt:lpstr>Calibri</vt:lpstr>
      <vt:lpstr>Corbel</vt:lpstr>
      <vt:lpstr>Neo Sans Std</vt:lpstr>
      <vt:lpstr>Symbol</vt:lpstr>
      <vt:lpstr>JURBEY</vt:lpstr>
      <vt:lpstr>think-cell Slide</vt:lpstr>
      <vt:lpstr> Getting started with Parkmobile’s API’s </vt:lpstr>
      <vt:lpstr>PowerPoint Presentation</vt:lpstr>
      <vt:lpstr>WHO WE ARE</vt:lpstr>
      <vt:lpstr>PowerPoint Presentation</vt:lpstr>
      <vt:lpstr>PowerPoint Presentation</vt:lpstr>
      <vt:lpstr>      Inventory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 ?</vt:lpstr>
      <vt:lpstr>link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es Meys</dc:creator>
  <cp:lastModifiedBy>Yohanes Chandra</cp:lastModifiedBy>
  <cp:revision>174</cp:revision>
  <dcterms:created xsi:type="dcterms:W3CDTF">2019-05-10T11:14:54Z</dcterms:created>
  <dcterms:modified xsi:type="dcterms:W3CDTF">2019-06-06T19:24:10Z</dcterms:modified>
</cp:coreProperties>
</file>